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9" r:id="rId2"/>
    <p:sldMasterId id="2147483673" r:id="rId3"/>
    <p:sldMasterId id="2147483675" r:id="rId4"/>
    <p:sldMasterId id="2147483678" r:id="rId5"/>
    <p:sldMasterId id="2147483681" r:id="rId6"/>
    <p:sldMasterId id="2147483684" r:id="rId7"/>
  </p:sldMasterIdLst>
  <p:notesMasterIdLst>
    <p:notesMasterId r:id="rId38"/>
  </p:notesMasterIdLst>
  <p:handoutMasterIdLst>
    <p:handoutMasterId r:id="rId39"/>
  </p:handoutMasterIdLst>
  <p:sldIdLst>
    <p:sldId id="1461" r:id="rId8"/>
    <p:sldId id="1765" r:id="rId9"/>
    <p:sldId id="1759" r:id="rId10"/>
    <p:sldId id="1741" r:id="rId11"/>
    <p:sldId id="1749" r:id="rId12"/>
    <p:sldId id="1756" r:id="rId13"/>
    <p:sldId id="1683" r:id="rId14"/>
    <p:sldId id="1742" r:id="rId15"/>
    <p:sldId id="1734" r:id="rId16"/>
    <p:sldId id="1688" r:id="rId17"/>
    <p:sldId id="1692" r:id="rId18"/>
    <p:sldId id="1735" r:id="rId19"/>
    <p:sldId id="1696" r:id="rId20"/>
    <p:sldId id="1766" r:id="rId21"/>
    <p:sldId id="1725" r:id="rId22"/>
    <p:sldId id="1744" r:id="rId23"/>
    <p:sldId id="1751" r:id="rId24"/>
    <p:sldId id="1752" r:id="rId25"/>
    <p:sldId id="1736" r:id="rId26"/>
    <p:sldId id="1754" r:id="rId27"/>
    <p:sldId id="1701" r:id="rId28"/>
    <p:sldId id="1728" r:id="rId29"/>
    <p:sldId id="1761" r:id="rId30"/>
    <p:sldId id="1727" r:id="rId31"/>
    <p:sldId id="1738" r:id="rId32"/>
    <p:sldId id="1739" r:id="rId33"/>
    <p:sldId id="1729" r:id="rId34"/>
    <p:sldId id="1731" r:id="rId35"/>
    <p:sldId id="1762" r:id="rId36"/>
    <p:sldId id="1757" r:id="rId37"/>
  </p:sldIdLst>
  <p:sldSz cx="12192000" cy="6858000"/>
  <p:notesSz cx="6858000" cy="9144000"/>
  <p:custDataLst>
    <p:tags r:id="rId4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F4BC2EC-4E67-4B00-8677-D0598386DBEA}">
          <p14:sldIdLst>
            <p14:sldId id="1461"/>
            <p14:sldId id="1765"/>
            <p14:sldId id="1759"/>
            <p14:sldId id="1741"/>
            <p14:sldId id="1749"/>
            <p14:sldId id="1756"/>
            <p14:sldId id="1683"/>
            <p14:sldId id="1742"/>
            <p14:sldId id="1734"/>
            <p14:sldId id="1688"/>
            <p14:sldId id="1692"/>
            <p14:sldId id="1735"/>
            <p14:sldId id="1696"/>
            <p14:sldId id="1766"/>
            <p14:sldId id="1725"/>
            <p14:sldId id="1744"/>
            <p14:sldId id="1751"/>
            <p14:sldId id="1752"/>
            <p14:sldId id="1736"/>
            <p14:sldId id="1754"/>
          </p14:sldIdLst>
        </p14:section>
        <p14:section name="Untitled Section" id="{3EF15D89-809E-48CF-8DC0-D3D755346506}">
          <p14:sldIdLst>
            <p14:sldId id="1701"/>
            <p14:sldId id="1728"/>
            <p14:sldId id="1761"/>
            <p14:sldId id="1727"/>
            <p14:sldId id="1738"/>
            <p14:sldId id="1739"/>
            <p14:sldId id="1729"/>
            <p14:sldId id="1731"/>
            <p14:sldId id="1762"/>
            <p14:sldId id="1757"/>
          </p14:sldIdLst>
        </p14:section>
      </p14:sectionLst>
    </p:ext>
    <p:ext uri="{EFAFB233-063F-42B5-8137-9DF3F51BA10A}">
      <p15:sldGuideLst xmlns:p15="http://schemas.microsoft.com/office/powerpoint/2012/main">
        <p15:guide id="1" pos="370" userDrawn="1">
          <p15:clr>
            <a:srgbClr val="A4A3A4"/>
          </p15:clr>
        </p15:guide>
        <p15:guide id="2" orient="horz" pos="1298" userDrawn="1">
          <p15:clr>
            <a:srgbClr val="A4A3A4"/>
          </p15:clr>
        </p15:guide>
        <p15:guide id="3" pos="7310" userDrawn="1">
          <p15:clr>
            <a:srgbClr val="A4A3A4"/>
          </p15:clr>
        </p15:guide>
        <p15:guide id="4" pos="41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372EBFB-BD12-19FD-F627-D4BC4F7A2F7F}" name="Borzi, Barbara" initials="BB" userId="S::barbara.borzi@dxc.com::a99177f3-8037-48a1-ab6c-55d5da8602b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Marzullo Annarita Lina" initials="MAL" lastIdx="1" clrIdx="6">
    <p:extLst>
      <p:ext uri="{19B8F6BF-5375-455C-9EA6-DF929625EA0E}">
        <p15:presenceInfo xmlns:p15="http://schemas.microsoft.com/office/powerpoint/2012/main" userId="S::MI10820@istruzione.it::f1050efd-c524-4eca-82e0-644b5c6cdd4c" providerId="AD"/>
      </p:ext>
    </p:extLst>
  </p:cmAuthor>
  <p:cmAuthor id="1" name="De Mare, Valerio" initials="DMV" lastIdx="1" clrIdx="0">
    <p:extLst>
      <p:ext uri="{19B8F6BF-5375-455C-9EA6-DF929625EA0E}">
        <p15:presenceInfo xmlns:p15="http://schemas.microsoft.com/office/powerpoint/2012/main" userId="De Mare, Valerio" providerId="None"/>
      </p:ext>
    </p:extLst>
  </p:cmAuthor>
  <p:cmAuthor id="2" name="Asciore, Alessio" initials="AA" lastIdx="3" clrIdx="1">
    <p:extLst>
      <p:ext uri="{19B8F6BF-5375-455C-9EA6-DF929625EA0E}">
        <p15:presenceInfo xmlns:p15="http://schemas.microsoft.com/office/powerpoint/2012/main" userId="S-1-5-21-101065568-1301092265-227697207-120935" providerId="AD"/>
      </p:ext>
    </p:extLst>
  </p:cmAuthor>
  <p:cmAuthor id="3" name="Gregori, Chiara" initials="GC" lastIdx="39" clrIdx="2">
    <p:extLst>
      <p:ext uri="{19B8F6BF-5375-455C-9EA6-DF929625EA0E}">
        <p15:presenceInfo xmlns:p15="http://schemas.microsoft.com/office/powerpoint/2012/main" userId="S-1-5-21-101065568-1301092265-227697207-123542" providerId="AD"/>
      </p:ext>
    </p:extLst>
  </p:cmAuthor>
  <p:cmAuthor id="4" name="Chiara Gregori" initials="CG" lastIdx="20" clrIdx="3">
    <p:extLst>
      <p:ext uri="{19B8F6BF-5375-455C-9EA6-DF929625EA0E}">
        <p15:presenceInfo xmlns:p15="http://schemas.microsoft.com/office/powerpoint/2012/main" userId="Chiara Gregori" providerId="None"/>
      </p:ext>
    </p:extLst>
  </p:cmAuthor>
  <p:cmAuthor id="5" name="Autore" initials="Autore" lastIdx="1" clrIdx="4">
    <p:extLst>
      <p:ext uri="{19B8F6BF-5375-455C-9EA6-DF929625EA0E}">
        <p15:presenceInfo xmlns:p15="http://schemas.microsoft.com/office/powerpoint/2012/main" userId="Autore" providerId="None"/>
      </p:ext>
    </p:extLst>
  </p:cmAuthor>
  <p:cmAuthor id="6" name="Bruno, Giovanni" initials="BG" lastIdx="1" clrIdx="5">
    <p:extLst>
      <p:ext uri="{19B8F6BF-5375-455C-9EA6-DF929625EA0E}">
        <p15:presenceInfo xmlns:p15="http://schemas.microsoft.com/office/powerpoint/2012/main" userId="S::giovannibruno@kpmg.it::1feacaf1-4dd7-48b2-90a4-c2ce3631aa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1D4D"/>
    <a:srgbClr val="081C4A"/>
    <a:srgbClr val="5B9BD5"/>
    <a:srgbClr val="FFFFFF"/>
    <a:srgbClr val="D9D9D9"/>
    <a:srgbClr val="071C49"/>
    <a:srgbClr val="CACBCA"/>
    <a:srgbClr val="EFEFEF"/>
    <a:srgbClr val="061A47"/>
    <a:srgbClr val="FEF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B57C3E4-A146-4ECF-A04B-AB21BAB4E72D}" v="1" dt="2023-05-29T10:49:02.3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Stile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13" autoAdjust="0"/>
    <p:restoredTop sz="92579" autoAdjust="0"/>
  </p:normalViewPr>
  <p:slideViewPr>
    <p:cSldViewPr snapToGrid="0">
      <p:cViewPr varScale="1">
        <p:scale>
          <a:sx n="67" d="100"/>
          <a:sy n="67" d="100"/>
        </p:scale>
        <p:origin x="840" y="60"/>
      </p:cViewPr>
      <p:guideLst>
        <p:guide pos="370"/>
        <p:guide orient="horz" pos="1298"/>
        <p:guide pos="7310"/>
        <p:guide pos="41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viewProps" Target="viewProps.xml"/><Relationship Id="rId48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notesMaster" Target="notesMasters/notesMaster1.xml"/><Relationship Id="rId46" Type="http://schemas.microsoft.com/office/2016/11/relationships/changesInfo" Target="changesInfos/changesInfo1.xml"/><Relationship Id="rId20" Type="http://schemas.openxmlformats.org/officeDocument/2006/relationships/slide" Target="slides/slide13.xml"/><Relationship Id="rId41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zullo Annarita Lina" userId="f1050efd-c524-4eca-82e0-644b5c6cdd4c" providerId="ADAL" clId="{C7CAAACD-D56B-4262-8126-920D2E0D09B7}"/>
    <pc:docChg chg="custSel modSld sldOrd">
      <pc:chgData name="Marzullo Annarita Lina" userId="f1050efd-c524-4eca-82e0-644b5c6cdd4c" providerId="ADAL" clId="{C7CAAACD-D56B-4262-8126-920D2E0D09B7}" dt="2023-05-28T14:27:47.827" v="124" actId="20577"/>
      <pc:docMkLst>
        <pc:docMk/>
      </pc:docMkLst>
      <pc:sldChg chg="modNotesTx">
        <pc:chgData name="Marzullo Annarita Lina" userId="f1050efd-c524-4eca-82e0-644b5c6cdd4c" providerId="ADAL" clId="{C7CAAACD-D56B-4262-8126-920D2E0D09B7}" dt="2023-05-28T14:20:50.556" v="52" actId="20577"/>
        <pc:sldMkLst>
          <pc:docMk/>
          <pc:sldMk cId="1631554027" sldId="1728"/>
        </pc:sldMkLst>
      </pc:sldChg>
      <pc:sldChg chg="modSp mod">
        <pc:chgData name="Marzullo Annarita Lina" userId="f1050efd-c524-4eca-82e0-644b5c6cdd4c" providerId="ADAL" clId="{C7CAAACD-D56B-4262-8126-920D2E0D09B7}" dt="2023-05-28T14:17:27.380" v="4" actId="20577"/>
        <pc:sldMkLst>
          <pc:docMk/>
          <pc:sldMk cId="289336650" sldId="1736"/>
        </pc:sldMkLst>
        <pc:spChg chg="mod">
          <ac:chgData name="Marzullo Annarita Lina" userId="f1050efd-c524-4eca-82e0-644b5c6cdd4c" providerId="ADAL" clId="{C7CAAACD-D56B-4262-8126-920D2E0D09B7}" dt="2023-05-28T14:17:27.380" v="4" actId="20577"/>
          <ac:spMkLst>
            <pc:docMk/>
            <pc:sldMk cId="289336650" sldId="1736"/>
            <ac:spMk id="47" creationId="{F5965169-7A40-4117-9419-075C048CA34C}"/>
          </ac:spMkLst>
        </pc:spChg>
      </pc:sldChg>
      <pc:sldChg chg="modSp mod">
        <pc:chgData name="Marzullo Annarita Lina" userId="f1050efd-c524-4eca-82e0-644b5c6cdd4c" providerId="ADAL" clId="{C7CAAACD-D56B-4262-8126-920D2E0D09B7}" dt="2023-05-28T14:21:33.441" v="53" actId="207"/>
        <pc:sldMkLst>
          <pc:docMk/>
          <pc:sldMk cId="3113076" sldId="1738"/>
        </pc:sldMkLst>
        <pc:spChg chg="mod">
          <ac:chgData name="Marzullo Annarita Lina" userId="f1050efd-c524-4eca-82e0-644b5c6cdd4c" providerId="ADAL" clId="{C7CAAACD-D56B-4262-8126-920D2E0D09B7}" dt="2023-05-28T14:21:33.441" v="53" actId="207"/>
          <ac:spMkLst>
            <pc:docMk/>
            <pc:sldMk cId="3113076" sldId="1738"/>
            <ac:spMk id="6" creationId="{F5965169-7A40-4117-9419-075C048CA34C}"/>
          </ac:spMkLst>
        </pc:spChg>
      </pc:sldChg>
      <pc:sldChg chg="modNotesTx">
        <pc:chgData name="Marzullo Annarita Lina" userId="f1050efd-c524-4eca-82e0-644b5c6cdd4c" providerId="ADAL" clId="{C7CAAACD-D56B-4262-8126-920D2E0D09B7}" dt="2023-05-28T14:27:47.827" v="124" actId="20577"/>
        <pc:sldMkLst>
          <pc:docMk/>
          <pc:sldMk cId="1072410853" sldId="1739"/>
        </pc:sldMkLst>
      </pc:sldChg>
      <pc:sldChg chg="ord">
        <pc:chgData name="Marzullo Annarita Lina" userId="f1050efd-c524-4eca-82e0-644b5c6cdd4c" providerId="ADAL" clId="{C7CAAACD-D56B-4262-8126-920D2E0D09B7}" dt="2023-05-28T14:11:16.370" v="1"/>
        <pc:sldMkLst>
          <pc:docMk/>
          <pc:sldMk cId="3424232216" sldId="1750"/>
        </pc:sldMkLst>
      </pc:sldChg>
      <pc:sldChg chg="ord">
        <pc:chgData name="Marzullo Annarita Lina" userId="f1050efd-c524-4eca-82e0-644b5c6cdd4c" providerId="ADAL" clId="{C7CAAACD-D56B-4262-8126-920D2E0D09B7}" dt="2023-05-28T14:11:30.803" v="3"/>
        <pc:sldMkLst>
          <pc:docMk/>
          <pc:sldMk cId="3980656809" sldId="1766"/>
        </pc:sldMkLst>
      </pc:sldChg>
    </pc:docChg>
  </pc:docChgLst>
  <pc:docChgLst>
    <pc:chgData name="Marzullo Annarita Lina" userId="f1050efd-c524-4eca-82e0-644b5c6cdd4c" providerId="ADAL" clId="{0B57C3E4-A146-4ECF-A04B-AB21BAB4E72D}"/>
    <pc:docChg chg="undo custSel addSld delSld modSld sldOrd modSection">
      <pc:chgData name="Marzullo Annarita Lina" userId="f1050efd-c524-4eca-82e0-644b5c6cdd4c" providerId="ADAL" clId="{0B57C3E4-A146-4ECF-A04B-AB21BAB4E72D}" dt="2023-05-30T10:32:35.275" v="2219" actId="120"/>
      <pc:docMkLst>
        <pc:docMk/>
      </pc:docMkLst>
      <pc:sldChg chg="modSp mod">
        <pc:chgData name="Marzullo Annarita Lina" userId="f1050efd-c524-4eca-82e0-644b5c6cdd4c" providerId="ADAL" clId="{0B57C3E4-A146-4ECF-A04B-AB21BAB4E72D}" dt="2023-05-30T08:44:25.317" v="2188"/>
        <pc:sldMkLst>
          <pc:docMk/>
          <pc:sldMk cId="1796281470" sldId="1461"/>
        </pc:sldMkLst>
        <pc:spChg chg="mod">
          <ac:chgData name="Marzullo Annarita Lina" userId="f1050efd-c524-4eca-82e0-644b5c6cdd4c" providerId="ADAL" clId="{0B57C3E4-A146-4ECF-A04B-AB21BAB4E72D}" dt="2023-05-30T08:44:25.317" v="2188"/>
          <ac:spMkLst>
            <pc:docMk/>
            <pc:sldMk cId="1796281470" sldId="1461"/>
            <ac:spMk id="3" creationId="{780BA4D8-A7E2-4B2A-A43E-85417AC2FFC2}"/>
          </ac:spMkLst>
        </pc:spChg>
      </pc:sldChg>
      <pc:sldChg chg="modSp mod">
        <pc:chgData name="Marzullo Annarita Lina" userId="f1050efd-c524-4eca-82e0-644b5c6cdd4c" providerId="ADAL" clId="{0B57C3E4-A146-4ECF-A04B-AB21BAB4E72D}" dt="2023-05-26T13:20:17.936" v="225" actId="1076"/>
        <pc:sldMkLst>
          <pc:docMk/>
          <pc:sldMk cId="2215141658" sldId="1683"/>
        </pc:sldMkLst>
        <pc:spChg chg="mod">
          <ac:chgData name="Marzullo Annarita Lina" userId="f1050efd-c524-4eca-82e0-644b5c6cdd4c" providerId="ADAL" clId="{0B57C3E4-A146-4ECF-A04B-AB21BAB4E72D}" dt="2023-05-26T13:19:59.409" v="220" actId="123"/>
          <ac:spMkLst>
            <pc:docMk/>
            <pc:sldMk cId="2215141658" sldId="1683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20:17.936" v="225" actId="1076"/>
          <ac:spMkLst>
            <pc:docMk/>
            <pc:sldMk cId="2215141658" sldId="1683"/>
            <ac:spMk id="50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3:20:13.215" v="224" actId="1076"/>
          <ac:picMkLst>
            <pc:docMk/>
            <pc:sldMk cId="2215141658" sldId="1683"/>
            <ac:picMk id="10" creationId="{00000000-0000-0000-0000-000000000000}"/>
          </ac:picMkLst>
        </pc:picChg>
      </pc:sldChg>
      <pc:sldChg chg="modSp mod">
        <pc:chgData name="Marzullo Annarita Lina" userId="f1050efd-c524-4eca-82e0-644b5c6cdd4c" providerId="ADAL" clId="{0B57C3E4-A146-4ECF-A04B-AB21BAB4E72D}" dt="2023-05-29T11:29:51.655" v="1952" actId="20577"/>
        <pc:sldMkLst>
          <pc:docMk/>
          <pc:sldMk cId="2260585057" sldId="1688"/>
        </pc:sldMkLst>
        <pc:spChg chg="mod">
          <ac:chgData name="Marzullo Annarita Lina" userId="f1050efd-c524-4eca-82e0-644b5c6cdd4c" providerId="ADAL" clId="{0B57C3E4-A146-4ECF-A04B-AB21BAB4E72D}" dt="2023-05-26T13:22:17.567" v="238" actId="1076"/>
          <ac:spMkLst>
            <pc:docMk/>
            <pc:sldMk cId="2260585057" sldId="1688"/>
            <ac:spMk id="10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29:51.655" v="1952" actId="20577"/>
          <ac:spMkLst>
            <pc:docMk/>
            <pc:sldMk cId="2260585057" sldId="1688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20:57.640" v="231" actId="1076"/>
          <ac:picMkLst>
            <pc:docMk/>
            <pc:sldMk cId="2260585057" sldId="1688"/>
            <ac:picMk id="5" creationId="{F86AB06D-7D71-7220-BAA6-10D4980BC568}"/>
          </ac:picMkLst>
        </pc:picChg>
        <pc:picChg chg="mod">
          <ac:chgData name="Marzullo Annarita Lina" userId="f1050efd-c524-4eca-82e0-644b5c6cdd4c" providerId="ADAL" clId="{0B57C3E4-A146-4ECF-A04B-AB21BAB4E72D}" dt="2023-05-26T13:20:55.391" v="230" actId="1076"/>
          <ac:picMkLst>
            <pc:docMk/>
            <pc:sldMk cId="2260585057" sldId="1688"/>
            <ac:picMk id="7" creationId="{98B62C3D-F0F3-7EE6-1CBD-82104CD023F0}"/>
          </ac:picMkLst>
        </pc:picChg>
      </pc:sldChg>
      <pc:sldChg chg="modSp mod">
        <pc:chgData name="Marzullo Annarita Lina" userId="f1050efd-c524-4eca-82e0-644b5c6cdd4c" providerId="ADAL" clId="{0B57C3E4-A146-4ECF-A04B-AB21BAB4E72D}" dt="2023-05-29T11:29:47.914" v="1950" actId="20577"/>
        <pc:sldMkLst>
          <pc:docMk/>
          <pc:sldMk cId="1977532571" sldId="1692"/>
        </pc:sldMkLst>
        <pc:spChg chg="mod">
          <ac:chgData name="Marzullo Annarita Lina" userId="f1050efd-c524-4eca-82e0-644b5c6cdd4c" providerId="ADAL" clId="{0B57C3E4-A146-4ECF-A04B-AB21BAB4E72D}" dt="2023-05-29T10:54:27.806" v="1752" actId="1076"/>
          <ac:spMkLst>
            <pc:docMk/>
            <pc:sldMk cId="1977532571" sldId="1692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0:54:08.135" v="1751" actId="20577"/>
          <ac:spMkLst>
            <pc:docMk/>
            <pc:sldMk cId="1977532571" sldId="1692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29:47.914" v="1950" actId="20577"/>
          <ac:spMkLst>
            <pc:docMk/>
            <pc:sldMk cId="1977532571" sldId="1692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22:41.111" v="240" actId="1076"/>
          <ac:picMkLst>
            <pc:docMk/>
            <pc:sldMk cId="1977532571" sldId="1692"/>
            <ac:picMk id="5" creationId="{00000000-0000-0000-0000-000000000000}"/>
          </ac:picMkLst>
        </pc:picChg>
        <pc:picChg chg="mod">
          <ac:chgData name="Marzullo Annarita Lina" userId="f1050efd-c524-4eca-82e0-644b5c6cdd4c" providerId="ADAL" clId="{0B57C3E4-A146-4ECF-A04B-AB21BAB4E72D}" dt="2023-05-26T13:22:44.968" v="242" actId="1076"/>
          <ac:picMkLst>
            <pc:docMk/>
            <pc:sldMk cId="1977532571" sldId="1692"/>
            <ac:picMk id="11" creationId="{00000000-0000-0000-0000-000000000000}"/>
          </ac:picMkLst>
        </pc:picChg>
      </pc:sldChg>
      <pc:sldChg chg="modSp mod modNotesTx">
        <pc:chgData name="Marzullo Annarita Lina" userId="f1050efd-c524-4eca-82e0-644b5c6cdd4c" providerId="ADAL" clId="{0B57C3E4-A146-4ECF-A04B-AB21BAB4E72D}" dt="2023-05-30T08:55:32.170" v="2197" actId="20577"/>
        <pc:sldMkLst>
          <pc:docMk/>
          <pc:sldMk cId="1512600465" sldId="1696"/>
        </pc:sldMkLst>
        <pc:spChg chg="mod">
          <ac:chgData name="Marzullo Annarita Lina" userId="f1050efd-c524-4eca-82e0-644b5c6cdd4c" providerId="ADAL" clId="{0B57C3E4-A146-4ECF-A04B-AB21BAB4E72D}" dt="2023-05-26T13:27:48.321" v="258" actId="123"/>
          <ac:spMkLst>
            <pc:docMk/>
            <pc:sldMk cId="1512600465" sldId="1696"/>
            <ac:spMk id="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29:40.015" v="1946" actId="20577"/>
          <ac:spMkLst>
            <pc:docMk/>
            <pc:sldMk cId="1512600465" sldId="1696"/>
            <ac:spMk id="179" creationId="{00000000-0000-0000-0000-000000000000}"/>
          </ac:spMkLst>
        </pc:spChg>
      </pc:sldChg>
      <pc:sldChg chg="modSp mod modNotesTx">
        <pc:chgData name="Marzullo Annarita Lina" userId="f1050efd-c524-4eca-82e0-644b5c6cdd4c" providerId="ADAL" clId="{0B57C3E4-A146-4ECF-A04B-AB21BAB4E72D}" dt="2023-05-30T08:56:12.747" v="2202" actId="20577"/>
        <pc:sldMkLst>
          <pc:docMk/>
          <pc:sldMk cId="2579528906" sldId="1701"/>
        </pc:sldMkLst>
        <pc:spChg chg="mod">
          <ac:chgData name="Marzullo Annarita Lina" userId="f1050efd-c524-4eca-82e0-644b5c6cdd4c" providerId="ADAL" clId="{0B57C3E4-A146-4ECF-A04B-AB21BAB4E72D}" dt="2023-05-26T13:01:05.246" v="141" actId="123"/>
          <ac:spMkLst>
            <pc:docMk/>
            <pc:sldMk cId="2579528906" sldId="1701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01:08.308" v="142" actId="123"/>
          <ac:spMkLst>
            <pc:docMk/>
            <pc:sldMk cId="2579528906" sldId="1701"/>
            <ac:spMk id="10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01:10.397" v="143" actId="123"/>
          <ac:spMkLst>
            <pc:docMk/>
            <pc:sldMk cId="2579528906" sldId="1701"/>
            <ac:spMk id="11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3:00:37.651" v="134" actId="1076"/>
          <ac:picMkLst>
            <pc:docMk/>
            <pc:sldMk cId="2579528906" sldId="1701"/>
            <ac:picMk id="3" creationId="{79CBCE2A-8B9B-04FC-BF85-EF188548B248}"/>
          </ac:picMkLst>
        </pc:picChg>
        <pc:picChg chg="mod">
          <ac:chgData name="Marzullo Annarita Lina" userId="f1050efd-c524-4eca-82e0-644b5c6cdd4c" providerId="ADAL" clId="{0B57C3E4-A146-4ECF-A04B-AB21BAB4E72D}" dt="2023-05-26T13:01:29.874" v="146" actId="1076"/>
          <ac:picMkLst>
            <pc:docMk/>
            <pc:sldMk cId="2579528906" sldId="1701"/>
            <ac:picMk id="7" creationId="{20B4A964-859F-55C8-9269-9B64905814ED}"/>
          </ac:picMkLst>
        </pc:picChg>
      </pc:sldChg>
      <pc:sldChg chg="modSp mod">
        <pc:chgData name="Marzullo Annarita Lina" userId="f1050efd-c524-4eca-82e0-644b5c6cdd4c" providerId="ADAL" clId="{0B57C3E4-A146-4ECF-A04B-AB21BAB4E72D}" dt="2023-05-29T11:30:25.387" v="1956" actId="1076"/>
        <pc:sldMkLst>
          <pc:docMk/>
          <pc:sldMk cId="1768318937" sldId="1725"/>
        </pc:sldMkLst>
        <pc:spChg chg="mod">
          <ac:chgData name="Marzullo Annarita Lina" userId="f1050efd-c524-4eca-82e0-644b5c6cdd4c" providerId="ADAL" clId="{0B57C3E4-A146-4ECF-A04B-AB21BAB4E72D}" dt="2023-05-26T13:57:18.943" v="982" actId="123"/>
          <ac:spMkLst>
            <pc:docMk/>
            <pc:sldMk cId="1768318937" sldId="1725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57:18.943" v="982" actId="123"/>
          <ac:spMkLst>
            <pc:docMk/>
            <pc:sldMk cId="1768318937" sldId="1725"/>
            <ac:spMk id="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57:18.943" v="982" actId="123"/>
          <ac:spMkLst>
            <pc:docMk/>
            <pc:sldMk cId="1768318937" sldId="1725"/>
            <ac:spMk id="8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57:18.943" v="982" actId="123"/>
          <ac:spMkLst>
            <pc:docMk/>
            <pc:sldMk cId="1768318937" sldId="1725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29:27.693" v="1940" actId="20577"/>
          <ac:spMkLst>
            <pc:docMk/>
            <pc:sldMk cId="1768318937" sldId="1725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9T11:30:19.520" v="1953" actId="1076"/>
          <ac:picMkLst>
            <pc:docMk/>
            <pc:sldMk cId="1768318937" sldId="1725"/>
            <ac:picMk id="12" creationId="{EF8D1D62-EA3A-F7E1-DDAE-2FED9BEC4E9C}"/>
          </ac:picMkLst>
        </pc:picChg>
        <pc:picChg chg="mod">
          <ac:chgData name="Marzullo Annarita Lina" userId="f1050efd-c524-4eca-82e0-644b5c6cdd4c" providerId="ADAL" clId="{0B57C3E4-A146-4ECF-A04B-AB21BAB4E72D}" dt="2023-05-29T11:30:21.678" v="1954" actId="1076"/>
          <ac:picMkLst>
            <pc:docMk/>
            <pc:sldMk cId="1768318937" sldId="1725"/>
            <ac:picMk id="13" creationId="{57ABA1E6-BBDD-80B0-3BEE-EC4688E47CA1}"/>
          </ac:picMkLst>
        </pc:picChg>
        <pc:picChg chg="mod">
          <ac:chgData name="Marzullo Annarita Lina" userId="f1050efd-c524-4eca-82e0-644b5c6cdd4c" providerId="ADAL" clId="{0B57C3E4-A146-4ECF-A04B-AB21BAB4E72D}" dt="2023-05-29T11:30:23.854" v="1955" actId="1076"/>
          <ac:picMkLst>
            <pc:docMk/>
            <pc:sldMk cId="1768318937" sldId="1725"/>
            <ac:picMk id="14" creationId="{25C421D1-B52A-63F7-218A-40F726CC7417}"/>
          </ac:picMkLst>
        </pc:picChg>
        <pc:picChg chg="mod">
          <ac:chgData name="Marzullo Annarita Lina" userId="f1050efd-c524-4eca-82e0-644b5c6cdd4c" providerId="ADAL" clId="{0B57C3E4-A146-4ECF-A04B-AB21BAB4E72D}" dt="2023-05-29T11:30:25.387" v="1956" actId="1076"/>
          <ac:picMkLst>
            <pc:docMk/>
            <pc:sldMk cId="1768318937" sldId="1725"/>
            <ac:picMk id="15" creationId="{A55911F3-CCA2-D991-0AC3-5B21711543B7}"/>
          </ac:picMkLst>
        </pc:picChg>
      </pc:sldChg>
      <pc:sldChg chg="modSp mod modNotesTx">
        <pc:chgData name="Marzullo Annarita Lina" userId="f1050efd-c524-4eca-82e0-644b5c6cdd4c" providerId="ADAL" clId="{0B57C3E4-A146-4ECF-A04B-AB21BAB4E72D}" dt="2023-05-30T08:56:18.972" v="2203" actId="20577"/>
        <pc:sldMkLst>
          <pc:docMk/>
          <pc:sldMk cId="4117650885" sldId="1727"/>
        </pc:sldMkLst>
        <pc:spChg chg="mod">
          <ac:chgData name="Marzullo Annarita Lina" userId="f1050efd-c524-4eca-82e0-644b5c6cdd4c" providerId="ADAL" clId="{0B57C3E4-A146-4ECF-A04B-AB21BAB4E72D}" dt="2023-05-29T11:54:25.276" v="2112" actId="20577"/>
          <ac:spMkLst>
            <pc:docMk/>
            <pc:sldMk cId="4117650885" sldId="1727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3:59.149" v="2106" actId="20577"/>
          <ac:spMkLst>
            <pc:docMk/>
            <pc:sldMk cId="4117650885" sldId="1727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09:55.116" v="210" actId="1076"/>
          <ac:picMkLst>
            <pc:docMk/>
            <pc:sldMk cId="4117650885" sldId="1727"/>
            <ac:picMk id="2" creationId="{E9507BE8-FE26-F697-A875-CE03F3CBAD46}"/>
          </ac:picMkLst>
        </pc:picChg>
        <pc:picChg chg="mod">
          <ac:chgData name="Marzullo Annarita Lina" userId="f1050efd-c524-4eca-82e0-644b5c6cdd4c" providerId="ADAL" clId="{0B57C3E4-A146-4ECF-A04B-AB21BAB4E72D}" dt="2023-05-26T13:09:52.884" v="209" actId="14100"/>
          <ac:picMkLst>
            <pc:docMk/>
            <pc:sldMk cId="4117650885" sldId="1727"/>
            <ac:picMk id="6" creationId="{7DCB8082-9A33-835E-C3DD-2DA2ED672360}"/>
          </ac:picMkLst>
        </pc:picChg>
      </pc:sldChg>
      <pc:sldChg chg="modSp mod modNotesTx">
        <pc:chgData name="Marzullo Annarita Lina" userId="f1050efd-c524-4eca-82e0-644b5c6cdd4c" providerId="ADAL" clId="{0B57C3E4-A146-4ECF-A04B-AB21BAB4E72D}" dt="2023-05-29T11:47:01.661" v="1990" actId="20577"/>
        <pc:sldMkLst>
          <pc:docMk/>
          <pc:sldMk cId="1631554027" sldId="1728"/>
        </pc:sldMkLst>
        <pc:spChg chg="mod">
          <ac:chgData name="Marzullo Annarita Lina" userId="f1050efd-c524-4eca-82e0-644b5c6cdd4c" providerId="ADAL" clId="{0B57C3E4-A146-4ECF-A04B-AB21BAB4E72D}" dt="2023-05-26T13:02:17.451" v="155" actId="14100"/>
          <ac:spMkLst>
            <pc:docMk/>
            <pc:sldMk cId="1631554027" sldId="1728"/>
            <ac:spMk id="47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3:02:37.035" v="156" actId="1076"/>
          <ac:picMkLst>
            <pc:docMk/>
            <pc:sldMk cId="1631554027" sldId="1728"/>
            <ac:picMk id="3" creationId="{E9BC9C2D-78AF-FEE2-97F0-C641C5B0F169}"/>
          </ac:picMkLst>
        </pc:picChg>
        <pc:picChg chg="mod">
          <ac:chgData name="Marzullo Annarita Lina" userId="f1050efd-c524-4eca-82e0-644b5c6cdd4c" providerId="ADAL" clId="{0B57C3E4-A146-4ECF-A04B-AB21BAB4E72D}" dt="2023-05-26T13:02:04.107" v="149" actId="1076"/>
          <ac:picMkLst>
            <pc:docMk/>
            <pc:sldMk cId="1631554027" sldId="1728"/>
            <ac:picMk id="4" creationId="{9040BCCB-61BC-FA2F-CD33-400A79AFFEFE}"/>
          </ac:picMkLst>
        </pc:picChg>
      </pc:sldChg>
      <pc:sldChg chg="modSp mod ord">
        <pc:chgData name="Marzullo Annarita Lina" userId="f1050efd-c524-4eca-82e0-644b5c6cdd4c" providerId="ADAL" clId="{0B57C3E4-A146-4ECF-A04B-AB21BAB4E72D}" dt="2023-05-29T11:58:35.594" v="2176" actId="1076"/>
        <pc:sldMkLst>
          <pc:docMk/>
          <pc:sldMk cId="3741162285" sldId="1729"/>
        </pc:sldMkLst>
        <pc:spChg chg="mod">
          <ac:chgData name="Marzullo Annarita Lina" userId="f1050efd-c524-4eca-82e0-644b5c6cdd4c" providerId="ADAL" clId="{0B57C3E4-A146-4ECF-A04B-AB21BAB4E72D}" dt="2023-05-29T11:58:35.594" v="2176" actId="1076"/>
          <ac:spMkLst>
            <pc:docMk/>
            <pc:sldMk cId="3741162285" sldId="1729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22.163" v="2170" actId="20577"/>
          <ac:spMkLst>
            <pc:docMk/>
            <pc:sldMk cId="3741162285" sldId="1729"/>
            <ac:spMk id="179" creationId="{00000000-0000-0000-0000-000000000000}"/>
          </ac:spMkLst>
        </pc:spChg>
      </pc:sldChg>
      <pc:sldChg chg="modSp mod modNotesTx">
        <pc:chgData name="Marzullo Annarita Lina" userId="f1050efd-c524-4eca-82e0-644b5c6cdd4c" providerId="ADAL" clId="{0B57C3E4-A146-4ECF-A04B-AB21BAB4E72D}" dt="2023-05-30T08:56:27.049" v="2204" actId="20577"/>
        <pc:sldMkLst>
          <pc:docMk/>
          <pc:sldMk cId="320809729" sldId="1731"/>
        </pc:sldMkLst>
        <pc:spChg chg="mod">
          <ac:chgData name="Marzullo Annarita Lina" userId="f1050efd-c524-4eca-82e0-644b5c6cdd4c" providerId="ADAL" clId="{0B57C3E4-A146-4ECF-A04B-AB21BAB4E72D}" dt="2023-05-29T11:59:03.084" v="2182" actId="20577"/>
          <ac:spMkLst>
            <pc:docMk/>
            <pc:sldMk cId="320809729" sldId="1731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59.517" v="2180" actId="20577"/>
          <ac:spMkLst>
            <pc:docMk/>
            <pc:sldMk cId="320809729" sldId="1731"/>
            <ac:spMk id="8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55.708" v="2178" actId="20577"/>
          <ac:spMkLst>
            <pc:docMk/>
            <pc:sldMk cId="320809729" sldId="1731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17:22.105" v="215" actId="14100"/>
          <ac:picMkLst>
            <pc:docMk/>
            <pc:sldMk cId="320809729" sldId="1731"/>
            <ac:picMk id="3" creationId="{9A87F880-7F64-6F96-E728-9AD07D6641D8}"/>
          </ac:picMkLst>
        </pc:picChg>
        <pc:picChg chg="mod">
          <ac:chgData name="Marzullo Annarita Lina" userId="f1050efd-c524-4eca-82e0-644b5c6cdd4c" providerId="ADAL" clId="{0B57C3E4-A146-4ECF-A04B-AB21BAB4E72D}" dt="2023-05-26T13:17:30.761" v="216" actId="1076"/>
          <ac:picMkLst>
            <pc:docMk/>
            <pc:sldMk cId="320809729" sldId="1731"/>
            <ac:picMk id="9" creationId="{C5089A5C-5D04-892D-0507-9EC60C148A35}"/>
          </ac:picMkLst>
        </pc:picChg>
      </pc:sldChg>
      <pc:sldChg chg="modSp mod">
        <pc:chgData name="Marzullo Annarita Lina" userId="f1050efd-c524-4eca-82e0-644b5c6cdd4c" providerId="ADAL" clId="{0B57C3E4-A146-4ECF-A04B-AB21BAB4E72D}" dt="2023-05-26T13:20:39.184" v="226" actId="14100"/>
        <pc:sldMkLst>
          <pc:docMk/>
          <pc:sldMk cId="4152733808" sldId="1734"/>
        </pc:sldMkLst>
        <pc:spChg chg="mod">
          <ac:chgData name="Marzullo Annarita Lina" userId="f1050efd-c524-4eca-82e0-644b5c6cdd4c" providerId="ADAL" clId="{0B57C3E4-A146-4ECF-A04B-AB21BAB4E72D}" dt="2023-05-26T13:20:39.184" v="226" actId="14100"/>
          <ac:spMkLst>
            <pc:docMk/>
            <pc:sldMk cId="4152733808" sldId="1734"/>
            <ac:spMk id="26" creationId="{F5965169-7A40-4117-9419-075C048CA34C}"/>
          </ac:spMkLst>
        </pc:spChg>
      </pc:sldChg>
      <pc:sldChg chg="modSp mod">
        <pc:chgData name="Marzullo Annarita Lina" userId="f1050efd-c524-4eca-82e0-644b5c6cdd4c" providerId="ADAL" clId="{0B57C3E4-A146-4ECF-A04B-AB21BAB4E72D}" dt="2023-05-29T11:29:43.548" v="1948" actId="20577"/>
        <pc:sldMkLst>
          <pc:docMk/>
          <pc:sldMk cId="3044070698" sldId="1735"/>
        </pc:sldMkLst>
        <pc:spChg chg="mod">
          <ac:chgData name="Marzullo Annarita Lina" userId="f1050efd-c524-4eca-82e0-644b5c6cdd4c" providerId="ADAL" clId="{0B57C3E4-A146-4ECF-A04B-AB21BAB4E72D}" dt="2023-05-26T13:27:09.424" v="252" actId="123"/>
          <ac:spMkLst>
            <pc:docMk/>
            <pc:sldMk cId="3044070698" sldId="1735"/>
            <ac:spMk id="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3:28:37.679" v="261" actId="123"/>
          <ac:spMkLst>
            <pc:docMk/>
            <pc:sldMk cId="3044070698" sldId="1735"/>
            <ac:spMk id="8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29:43.548" v="1948" actId="20577"/>
          <ac:spMkLst>
            <pc:docMk/>
            <pc:sldMk cId="3044070698" sldId="1735"/>
            <ac:spMk id="179" creationId="{00000000-0000-0000-0000-000000000000}"/>
          </ac:spMkLst>
        </pc:spChg>
      </pc:sldChg>
      <pc:sldChg chg="modSp mod modNotesTx">
        <pc:chgData name="Marzullo Annarita Lina" userId="f1050efd-c524-4eca-82e0-644b5c6cdd4c" providerId="ADAL" clId="{0B57C3E4-A146-4ECF-A04B-AB21BAB4E72D}" dt="2023-05-29T11:40:15.169" v="1980" actId="20577"/>
        <pc:sldMkLst>
          <pc:docMk/>
          <pc:sldMk cId="289336650" sldId="1736"/>
        </pc:sldMkLst>
        <pc:spChg chg="mod">
          <ac:chgData name="Marzullo Annarita Lina" userId="f1050efd-c524-4eca-82e0-644b5c6cdd4c" providerId="ADAL" clId="{0B57C3E4-A146-4ECF-A04B-AB21BAB4E72D}" dt="2023-05-26T14:04:33.030" v="1076" actId="14100"/>
          <ac:spMkLst>
            <pc:docMk/>
            <pc:sldMk cId="289336650" sldId="1736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40:02.372" v="1979" actId="14100"/>
          <ac:spMkLst>
            <pc:docMk/>
            <pc:sldMk cId="289336650" sldId="1736"/>
            <ac:spMk id="47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4:04:11.950" v="1067" actId="14100"/>
          <ac:picMkLst>
            <pc:docMk/>
            <pc:sldMk cId="289336650" sldId="1736"/>
            <ac:picMk id="3" creationId="{D383A03C-7F7B-217A-571C-8B39D38FB226}"/>
          </ac:picMkLst>
        </pc:picChg>
        <pc:picChg chg="mod">
          <ac:chgData name="Marzullo Annarita Lina" userId="f1050efd-c524-4eca-82e0-644b5c6cdd4c" providerId="ADAL" clId="{0B57C3E4-A146-4ECF-A04B-AB21BAB4E72D}" dt="2023-05-26T14:04:15.062" v="1068" actId="1076"/>
          <ac:picMkLst>
            <pc:docMk/>
            <pc:sldMk cId="289336650" sldId="1736"/>
            <ac:picMk id="8" creationId="{3D8A8C87-FBCA-6A7C-1AB2-BC13EFC58F41}"/>
          </ac:picMkLst>
        </pc:picChg>
        <pc:picChg chg="mod">
          <ac:chgData name="Marzullo Annarita Lina" userId="f1050efd-c524-4eca-82e0-644b5c6cdd4c" providerId="ADAL" clId="{0B57C3E4-A146-4ECF-A04B-AB21BAB4E72D}" dt="2023-05-26T14:04:16.743" v="1069" actId="1076"/>
          <ac:picMkLst>
            <pc:docMk/>
            <pc:sldMk cId="289336650" sldId="1736"/>
            <ac:picMk id="9" creationId="{E329AF1B-C33E-B955-6AF7-4D130C3353E4}"/>
          </ac:picMkLst>
        </pc:picChg>
      </pc:sldChg>
      <pc:sldChg chg="modSp mod ord modNotesTx">
        <pc:chgData name="Marzullo Annarita Lina" userId="f1050efd-c524-4eca-82e0-644b5c6cdd4c" providerId="ADAL" clId="{0B57C3E4-A146-4ECF-A04B-AB21BAB4E72D}" dt="2023-05-29T11:57:44.878" v="2142" actId="20577"/>
        <pc:sldMkLst>
          <pc:docMk/>
          <pc:sldMk cId="3113076" sldId="1738"/>
        </pc:sldMkLst>
        <pc:spChg chg="mod">
          <ac:chgData name="Marzullo Annarita Lina" userId="f1050efd-c524-4eca-82e0-644b5c6cdd4c" providerId="ADAL" clId="{0B57C3E4-A146-4ECF-A04B-AB21BAB4E72D}" dt="2023-05-29T11:57:44.878" v="2142" actId="20577"/>
          <ac:spMkLst>
            <pc:docMk/>
            <pc:sldMk cId="3113076" sldId="1738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7:41.009" v="2140" actId="20577"/>
          <ac:spMkLst>
            <pc:docMk/>
            <pc:sldMk cId="3113076" sldId="1738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04:04.851" v="161" actId="14100"/>
          <ac:picMkLst>
            <pc:docMk/>
            <pc:sldMk cId="3113076" sldId="1738"/>
            <ac:picMk id="3" creationId="{1BB55AC4-DC13-19C6-BACC-6B9799218B53}"/>
          </ac:picMkLst>
        </pc:picChg>
        <pc:picChg chg="mod">
          <ac:chgData name="Marzullo Annarita Lina" userId="f1050efd-c524-4eca-82e0-644b5c6cdd4c" providerId="ADAL" clId="{0B57C3E4-A146-4ECF-A04B-AB21BAB4E72D}" dt="2023-05-26T13:07:14.020" v="193" actId="1076"/>
          <ac:picMkLst>
            <pc:docMk/>
            <pc:sldMk cId="3113076" sldId="1738"/>
            <ac:picMk id="9" creationId="{979E9832-155C-5DBF-68AF-DECA99E65B16}"/>
          </ac:picMkLst>
        </pc:picChg>
      </pc:sldChg>
      <pc:sldChg chg="modSp mod ord modNotesTx">
        <pc:chgData name="Marzullo Annarita Lina" userId="f1050efd-c524-4eca-82e0-644b5c6cdd4c" providerId="ADAL" clId="{0B57C3E4-A146-4ECF-A04B-AB21BAB4E72D}" dt="2023-05-29T11:58:16.512" v="2168" actId="20577"/>
        <pc:sldMkLst>
          <pc:docMk/>
          <pc:sldMk cId="1072410853" sldId="1739"/>
        </pc:sldMkLst>
        <pc:spChg chg="mod">
          <ac:chgData name="Marzullo Annarita Lina" userId="f1050efd-c524-4eca-82e0-644b5c6cdd4c" providerId="ADAL" clId="{0B57C3E4-A146-4ECF-A04B-AB21BAB4E72D}" dt="2023-05-29T11:58:00.247" v="2152" actId="20577"/>
          <ac:spMkLst>
            <pc:docMk/>
            <pc:sldMk cId="1072410853" sldId="1739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05.759" v="2156" actId="20577"/>
          <ac:spMkLst>
            <pc:docMk/>
            <pc:sldMk cId="1072410853" sldId="1739"/>
            <ac:spMk id="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13.417" v="2164" actId="20577"/>
          <ac:spMkLst>
            <pc:docMk/>
            <pc:sldMk cId="1072410853" sldId="1739"/>
            <ac:spMk id="8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09.313" v="2160" actId="20577"/>
          <ac:spMkLst>
            <pc:docMk/>
            <pc:sldMk cId="1072410853" sldId="1739"/>
            <ac:spMk id="14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8:16.512" v="2168" actId="20577"/>
          <ac:spMkLst>
            <pc:docMk/>
            <pc:sldMk cId="1072410853" sldId="1739"/>
            <ac:spMk id="1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7:57.347" v="2148" actId="20577"/>
          <ac:spMkLst>
            <pc:docMk/>
            <pc:sldMk cId="1072410853" sldId="1739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7:51.943" v="2144" actId="20577"/>
          <ac:spMkLst>
            <pc:docMk/>
            <pc:sldMk cId="1072410853" sldId="1739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08:18.564" v="196" actId="1076"/>
          <ac:picMkLst>
            <pc:docMk/>
            <pc:sldMk cId="1072410853" sldId="1739"/>
            <ac:picMk id="10" creationId="{FA2C041B-21AD-5735-9F67-0C8411C92224}"/>
          </ac:picMkLst>
        </pc:picChg>
      </pc:sldChg>
      <pc:sldChg chg="modSp mod ord">
        <pc:chgData name="Marzullo Annarita Lina" userId="f1050efd-c524-4eca-82e0-644b5c6cdd4c" providerId="ADAL" clId="{0B57C3E4-A146-4ECF-A04B-AB21BAB4E72D}" dt="2023-05-30T10:30:28.533" v="2207" actId="14100"/>
        <pc:sldMkLst>
          <pc:docMk/>
          <pc:sldMk cId="1512536805" sldId="1741"/>
        </pc:sldMkLst>
        <pc:spChg chg="mod">
          <ac:chgData name="Marzullo Annarita Lina" userId="f1050efd-c524-4eca-82e0-644b5c6cdd4c" providerId="ADAL" clId="{0B57C3E4-A146-4ECF-A04B-AB21BAB4E72D}" dt="2023-05-30T10:30:22.634" v="2205" actId="123"/>
          <ac:spMkLst>
            <pc:docMk/>
            <pc:sldMk cId="1512536805" sldId="1741"/>
            <ac:spMk id="6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30T10:30:28.533" v="2207" actId="14100"/>
          <ac:spMkLst>
            <pc:docMk/>
            <pc:sldMk cId="1512536805" sldId="1741"/>
            <ac:spMk id="24" creationId="{613A5322-FAE1-4182-8E5D-84617317D8DF}"/>
          </ac:spMkLst>
        </pc:spChg>
      </pc:sldChg>
      <pc:sldChg chg="modSp mod">
        <pc:chgData name="Marzullo Annarita Lina" userId="f1050efd-c524-4eca-82e0-644b5c6cdd4c" providerId="ADAL" clId="{0B57C3E4-A146-4ECF-A04B-AB21BAB4E72D}" dt="2023-05-29T10:51:00.677" v="1663" actId="20577"/>
        <pc:sldMkLst>
          <pc:docMk/>
          <pc:sldMk cId="2337079662" sldId="1742"/>
        </pc:sldMkLst>
        <pc:spChg chg="mod">
          <ac:chgData name="Marzullo Annarita Lina" userId="f1050efd-c524-4eca-82e0-644b5c6cdd4c" providerId="ADAL" clId="{0B57C3E4-A146-4ECF-A04B-AB21BAB4E72D}" dt="2023-05-29T10:51:00.677" v="1663" actId="20577"/>
          <ac:spMkLst>
            <pc:docMk/>
            <pc:sldMk cId="2337079662" sldId="1742"/>
            <ac:spMk id="14" creationId="{27B5FB5E-6BAA-4582-911C-55FA381F3812}"/>
          </ac:spMkLst>
        </pc:spChg>
      </pc:sldChg>
      <pc:sldChg chg="modSp mod">
        <pc:chgData name="Marzullo Annarita Lina" userId="f1050efd-c524-4eca-82e0-644b5c6cdd4c" providerId="ADAL" clId="{0B57C3E4-A146-4ECF-A04B-AB21BAB4E72D}" dt="2023-05-30T10:32:35.275" v="2219" actId="120"/>
        <pc:sldMkLst>
          <pc:docMk/>
          <pc:sldMk cId="3596481792" sldId="1744"/>
        </pc:sldMkLst>
        <pc:spChg chg="mod">
          <ac:chgData name="Marzullo Annarita Lina" userId="f1050efd-c524-4eca-82e0-644b5c6cdd4c" providerId="ADAL" clId="{0B57C3E4-A146-4ECF-A04B-AB21BAB4E72D}" dt="2023-05-30T10:32:35.275" v="2219" actId="120"/>
          <ac:spMkLst>
            <pc:docMk/>
            <pc:sldMk cId="3596481792" sldId="1744"/>
            <ac:spMk id="7" creationId="{F5965169-7A40-4117-9419-075C048CA34C}"/>
          </ac:spMkLst>
        </pc:spChg>
      </pc:sldChg>
      <pc:sldChg chg="modSp mod modNotesTx">
        <pc:chgData name="Marzullo Annarita Lina" userId="f1050efd-c524-4eca-82e0-644b5c6cdd4c" providerId="ADAL" clId="{0B57C3E4-A146-4ECF-A04B-AB21BAB4E72D}" dt="2023-05-30T08:55:15.901" v="2196" actId="20577"/>
        <pc:sldMkLst>
          <pc:docMk/>
          <pc:sldMk cId="1781238161" sldId="1749"/>
        </pc:sldMkLst>
        <pc:graphicFrameChg chg="modGraphic">
          <ac:chgData name="Marzullo Annarita Lina" userId="f1050efd-c524-4eca-82e0-644b5c6cdd4c" providerId="ADAL" clId="{0B57C3E4-A146-4ECF-A04B-AB21BAB4E72D}" dt="2023-05-30T08:54:58.586" v="2195" actId="120"/>
          <ac:graphicFrameMkLst>
            <pc:docMk/>
            <pc:sldMk cId="1781238161" sldId="1749"/>
            <ac:graphicFrameMk id="7" creationId="{E8090EDF-E190-487E-B2C9-0F9F93B5030E}"/>
          </ac:graphicFrameMkLst>
        </pc:graphicFrameChg>
      </pc:sldChg>
      <pc:sldChg chg="addSp delSp modSp del mod ord modNotesTx">
        <pc:chgData name="Marzullo Annarita Lina" userId="f1050efd-c524-4eca-82e0-644b5c6cdd4c" providerId="ADAL" clId="{0B57C3E4-A146-4ECF-A04B-AB21BAB4E72D}" dt="2023-05-29T11:28:51.470" v="1935" actId="47"/>
        <pc:sldMkLst>
          <pc:docMk/>
          <pc:sldMk cId="3424232216" sldId="1750"/>
        </pc:sldMkLst>
        <pc:spChg chg="add del mod">
          <ac:chgData name="Marzullo Annarita Lina" userId="f1050efd-c524-4eca-82e0-644b5c6cdd4c" providerId="ADAL" clId="{0B57C3E4-A146-4ECF-A04B-AB21BAB4E72D}" dt="2023-05-26T13:45:51.153" v="869" actId="478"/>
          <ac:spMkLst>
            <pc:docMk/>
            <pc:sldMk cId="3424232216" sldId="1750"/>
            <ac:spMk id="2" creationId="{B0661197-103E-89DB-F846-43F6E812891F}"/>
          </ac:spMkLst>
        </pc:spChg>
        <pc:spChg chg="add mod">
          <ac:chgData name="Marzullo Annarita Lina" userId="f1050efd-c524-4eca-82e0-644b5c6cdd4c" providerId="ADAL" clId="{0B57C3E4-A146-4ECF-A04B-AB21BAB4E72D}" dt="2023-05-26T13:47:50.076" v="887" actId="1076"/>
          <ac:spMkLst>
            <pc:docMk/>
            <pc:sldMk cId="3424232216" sldId="1750"/>
            <ac:spMk id="8" creationId="{0F1589E6-2EA3-5636-8D3E-F60F836CCB8B}"/>
          </ac:spMkLst>
        </pc:spChg>
        <pc:spChg chg="mod">
          <ac:chgData name="Marzullo Annarita Lina" userId="f1050efd-c524-4eca-82e0-644b5c6cdd4c" providerId="ADAL" clId="{0B57C3E4-A146-4ECF-A04B-AB21BAB4E72D}" dt="2023-05-26T13:43:35.991" v="851" actId="403"/>
          <ac:spMkLst>
            <pc:docMk/>
            <pc:sldMk cId="3424232216" sldId="1750"/>
            <ac:spMk id="9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2:47:52.121" v="19" actId="20577"/>
          <ac:spMkLst>
            <pc:docMk/>
            <pc:sldMk cId="3424232216" sldId="1750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46:55.222" v="878" actId="1076"/>
          <ac:picMkLst>
            <pc:docMk/>
            <pc:sldMk cId="3424232216" sldId="1750"/>
            <ac:picMk id="3" creationId="{4F47A1C4-A73F-0901-061F-A733AE6D84B0}"/>
          </ac:picMkLst>
        </pc:picChg>
        <pc:picChg chg="mod">
          <ac:chgData name="Marzullo Annarita Lina" userId="f1050efd-c524-4eca-82e0-644b5c6cdd4c" providerId="ADAL" clId="{0B57C3E4-A146-4ECF-A04B-AB21BAB4E72D}" dt="2023-05-26T13:45:01.081" v="863" actId="1076"/>
          <ac:picMkLst>
            <pc:docMk/>
            <pc:sldMk cId="3424232216" sldId="1750"/>
            <ac:picMk id="15" creationId="{D6CA4CC3-E5FC-4A74-9A7B-4E53D7ECEE0B}"/>
          </ac:picMkLst>
        </pc:picChg>
        <pc:picChg chg="mod">
          <ac:chgData name="Marzullo Annarita Lina" userId="f1050efd-c524-4eca-82e0-644b5c6cdd4c" providerId="ADAL" clId="{0B57C3E4-A146-4ECF-A04B-AB21BAB4E72D}" dt="2023-05-26T13:44:53.097" v="860" actId="1076"/>
          <ac:picMkLst>
            <pc:docMk/>
            <pc:sldMk cId="3424232216" sldId="1750"/>
            <ac:picMk id="37" creationId="{00000000-0000-0000-0000-000000000000}"/>
          </ac:picMkLst>
        </pc:picChg>
        <pc:cxnChg chg="add del mod">
          <ac:chgData name="Marzullo Annarita Lina" userId="f1050efd-c524-4eca-82e0-644b5c6cdd4c" providerId="ADAL" clId="{0B57C3E4-A146-4ECF-A04B-AB21BAB4E72D}" dt="2023-05-26T13:46:26.224" v="873" actId="478"/>
          <ac:cxnSpMkLst>
            <pc:docMk/>
            <pc:sldMk cId="3424232216" sldId="1750"/>
            <ac:cxnSpMk id="5" creationId="{21C9810B-AA5C-A510-93ED-A11D14B6EE05}"/>
          </ac:cxnSpMkLst>
        </pc:cxnChg>
      </pc:sldChg>
      <pc:sldChg chg="modSp mod modNotesTx">
        <pc:chgData name="Marzullo Annarita Lina" userId="f1050efd-c524-4eca-82e0-644b5c6cdd4c" providerId="ADAL" clId="{0B57C3E4-A146-4ECF-A04B-AB21BAB4E72D}" dt="2023-05-30T08:56:00.220" v="2199" actId="20577"/>
        <pc:sldMkLst>
          <pc:docMk/>
          <pc:sldMk cId="263721918" sldId="1751"/>
        </pc:sldMkLst>
        <pc:spChg chg="mod">
          <ac:chgData name="Marzullo Annarita Lina" userId="f1050efd-c524-4eca-82e0-644b5c6cdd4c" providerId="ADAL" clId="{0B57C3E4-A146-4ECF-A04B-AB21BAB4E72D}" dt="2023-05-26T14:02:59.127" v="997" actId="14100"/>
          <ac:spMkLst>
            <pc:docMk/>
            <pc:sldMk cId="263721918" sldId="1751"/>
            <ac:spMk id="7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4:03:03.335" v="998" actId="1076"/>
          <ac:picMkLst>
            <pc:docMk/>
            <pc:sldMk cId="263721918" sldId="1751"/>
            <ac:picMk id="3" creationId="{3B100A8B-A26F-33E5-0A5A-934EAB371664}"/>
          </ac:picMkLst>
        </pc:picChg>
        <pc:picChg chg="mod">
          <ac:chgData name="Marzullo Annarita Lina" userId="f1050efd-c524-4eca-82e0-644b5c6cdd4c" providerId="ADAL" clId="{0B57C3E4-A146-4ECF-A04B-AB21BAB4E72D}" dt="2023-05-26T14:03:05.255" v="999" actId="1076"/>
          <ac:picMkLst>
            <pc:docMk/>
            <pc:sldMk cId="263721918" sldId="1751"/>
            <ac:picMk id="6" creationId="{5EF4B7AC-9199-3E8C-9AC4-E8BD130C4C08}"/>
          </ac:picMkLst>
        </pc:picChg>
      </pc:sldChg>
      <pc:sldChg chg="modSp mod modNotesTx">
        <pc:chgData name="Marzullo Annarita Lina" userId="f1050efd-c524-4eca-82e0-644b5c6cdd4c" providerId="ADAL" clId="{0B57C3E4-A146-4ECF-A04B-AB21BAB4E72D}" dt="2023-05-30T08:56:03.755" v="2200" actId="20577"/>
        <pc:sldMkLst>
          <pc:docMk/>
          <pc:sldMk cId="848575111" sldId="1752"/>
        </pc:sldMkLst>
        <pc:spChg chg="mod">
          <ac:chgData name="Marzullo Annarita Lina" userId="f1050efd-c524-4eca-82e0-644b5c6cdd4c" providerId="ADAL" clId="{0B57C3E4-A146-4ECF-A04B-AB21BAB4E72D}" dt="2023-05-26T12:54:25.441" v="121" actId="14100"/>
          <ac:spMkLst>
            <pc:docMk/>
            <pc:sldMk cId="848575111" sldId="1752"/>
            <ac:spMk id="7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2:54:17.545" v="119" actId="1076"/>
          <ac:picMkLst>
            <pc:docMk/>
            <pc:sldMk cId="848575111" sldId="1752"/>
            <ac:picMk id="3" creationId="{19C2FF67-79B2-B1E2-116D-AB3DD2386D5F}"/>
          </ac:picMkLst>
        </pc:picChg>
        <pc:picChg chg="mod">
          <ac:chgData name="Marzullo Annarita Lina" userId="f1050efd-c524-4eca-82e0-644b5c6cdd4c" providerId="ADAL" clId="{0B57C3E4-A146-4ECF-A04B-AB21BAB4E72D}" dt="2023-05-26T12:54:27.473" v="122" actId="1076"/>
          <ac:picMkLst>
            <pc:docMk/>
            <pc:sldMk cId="848575111" sldId="1752"/>
            <ac:picMk id="5" creationId="{9827F248-1CDB-29E1-F667-359C80F3E4DA}"/>
          </ac:picMkLst>
        </pc:picChg>
      </pc:sldChg>
      <pc:sldChg chg="modSp mod modNotesTx">
        <pc:chgData name="Marzullo Annarita Lina" userId="f1050efd-c524-4eca-82e0-644b5c6cdd4c" providerId="ADAL" clId="{0B57C3E4-A146-4ECF-A04B-AB21BAB4E72D}" dt="2023-05-30T08:56:10.028" v="2201" actId="20577"/>
        <pc:sldMkLst>
          <pc:docMk/>
          <pc:sldMk cId="3771833252" sldId="1754"/>
        </pc:sldMkLst>
        <pc:spChg chg="mod">
          <ac:chgData name="Marzullo Annarita Lina" userId="f1050efd-c524-4eca-82e0-644b5c6cdd4c" providerId="ADAL" clId="{0B57C3E4-A146-4ECF-A04B-AB21BAB4E72D}" dt="2023-05-26T14:10:04.884" v="1233" actId="20577"/>
          <ac:spMkLst>
            <pc:docMk/>
            <pc:sldMk cId="3771833252" sldId="1754"/>
            <ac:spMk id="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6T14:09:56.116" v="1232" actId="20577"/>
          <ac:spMkLst>
            <pc:docMk/>
            <pc:sldMk cId="3771833252" sldId="1754"/>
            <ac:spMk id="8" creationId="{F5965169-7A40-4117-9419-075C048CA34C}"/>
          </ac:spMkLst>
        </pc:spChg>
        <pc:picChg chg="mod">
          <ac:chgData name="Marzullo Annarita Lina" userId="f1050efd-c524-4eca-82e0-644b5c6cdd4c" providerId="ADAL" clId="{0B57C3E4-A146-4ECF-A04B-AB21BAB4E72D}" dt="2023-05-26T12:55:22.402" v="125" actId="1076"/>
          <ac:picMkLst>
            <pc:docMk/>
            <pc:sldMk cId="3771833252" sldId="1754"/>
            <ac:picMk id="5" creationId="{2E128781-617D-A79A-C0A2-B88C8D5B8C77}"/>
          </ac:picMkLst>
        </pc:picChg>
        <pc:picChg chg="mod">
          <ac:chgData name="Marzullo Annarita Lina" userId="f1050efd-c524-4eca-82e0-644b5c6cdd4c" providerId="ADAL" clId="{0B57C3E4-A146-4ECF-A04B-AB21BAB4E72D}" dt="2023-05-26T12:55:31.186" v="128" actId="1076"/>
          <ac:picMkLst>
            <pc:docMk/>
            <pc:sldMk cId="3771833252" sldId="1754"/>
            <ac:picMk id="12" creationId="{00000000-0000-0000-0000-000000000000}"/>
          </ac:picMkLst>
        </pc:picChg>
        <pc:picChg chg="mod">
          <ac:chgData name="Marzullo Annarita Lina" userId="f1050efd-c524-4eca-82e0-644b5c6cdd4c" providerId="ADAL" clId="{0B57C3E4-A146-4ECF-A04B-AB21BAB4E72D}" dt="2023-05-26T12:55:56.250" v="132" actId="1076"/>
          <ac:picMkLst>
            <pc:docMk/>
            <pc:sldMk cId="3771833252" sldId="1754"/>
            <ac:picMk id="13" creationId="{00000000-0000-0000-0000-000000000000}"/>
          </ac:picMkLst>
        </pc:picChg>
      </pc:sldChg>
      <pc:sldChg chg="modSp del mod">
        <pc:chgData name="Marzullo Annarita Lina" userId="f1050efd-c524-4eca-82e0-644b5c6cdd4c" providerId="ADAL" clId="{0B57C3E4-A146-4ECF-A04B-AB21BAB4E72D}" dt="2023-05-30T08:45:02.830" v="2193" actId="47"/>
        <pc:sldMkLst>
          <pc:docMk/>
          <pc:sldMk cId="2028436226" sldId="1755"/>
        </pc:sldMkLst>
        <pc:spChg chg="mod">
          <ac:chgData name="Marzullo Annarita Lina" userId="f1050efd-c524-4eca-82e0-644b5c6cdd4c" providerId="ADAL" clId="{0B57C3E4-A146-4ECF-A04B-AB21BAB4E72D}" dt="2023-05-30T08:44:19.024" v="2187" actId="21"/>
          <ac:spMkLst>
            <pc:docMk/>
            <pc:sldMk cId="2028436226" sldId="1755"/>
            <ac:spMk id="3" creationId="{780BA4D8-A7E2-4B2A-A43E-85417AC2FFC2}"/>
          </ac:spMkLst>
        </pc:spChg>
      </pc:sldChg>
      <pc:sldChg chg="ord">
        <pc:chgData name="Marzullo Annarita Lina" userId="f1050efd-c524-4eca-82e0-644b5c6cdd4c" providerId="ADAL" clId="{0B57C3E4-A146-4ECF-A04B-AB21BAB4E72D}" dt="2023-05-30T08:44:52.052" v="2190"/>
        <pc:sldMkLst>
          <pc:docMk/>
          <pc:sldMk cId="2732494064" sldId="1756"/>
        </pc:sldMkLst>
      </pc:sldChg>
      <pc:sldChg chg="modSp mod ord">
        <pc:chgData name="Marzullo Annarita Lina" userId="f1050efd-c524-4eca-82e0-644b5c6cdd4c" providerId="ADAL" clId="{0B57C3E4-A146-4ECF-A04B-AB21BAB4E72D}" dt="2023-05-30T08:44:56.780" v="2192"/>
        <pc:sldMkLst>
          <pc:docMk/>
          <pc:sldMk cId="4117124964" sldId="1759"/>
        </pc:sldMkLst>
        <pc:spChg chg="mod">
          <ac:chgData name="Marzullo Annarita Lina" userId="f1050efd-c524-4eca-82e0-644b5c6cdd4c" providerId="ADAL" clId="{0B57C3E4-A146-4ECF-A04B-AB21BAB4E72D}" dt="2023-05-29T10:49:32.340" v="1660" actId="14100"/>
          <ac:spMkLst>
            <pc:docMk/>
            <pc:sldMk cId="4117124964" sldId="1759"/>
            <ac:spMk id="18" creationId="{81738978-BFD4-0D8A-C56E-29F4D63C91EA}"/>
          </ac:spMkLst>
        </pc:spChg>
      </pc:sldChg>
      <pc:sldChg chg="del">
        <pc:chgData name="Marzullo Annarita Lina" userId="f1050efd-c524-4eca-82e0-644b5c6cdd4c" providerId="ADAL" clId="{0B57C3E4-A146-4ECF-A04B-AB21BAB4E72D}" dt="2023-05-26T12:47:31.392" v="11" actId="47"/>
        <pc:sldMkLst>
          <pc:docMk/>
          <pc:sldMk cId="808401396" sldId="1760"/>
        </pc:sldMkLst>
      </pc:sldChg>
      <pc:sldChg chg="modSp mod">
        <pc:chgData name="Marzullo Annarita Lina" userId="f1050efd-c524-4eca-82e0-644b5c6cdd4c" providerId="ADAL" clId="{0B57C3E4-A146-4ECF-A04B-AB21BAB4E72D}" dt="2023-05-29T11:54:18.423" v="2109" actId="20577"/>
        <pc:sldMkLst>
          <pc:docMk/>
          <pc:sldMk cId="2388988774" sldId="1761"/>
        </pc:sldMkLst>
        <pc:spChg chg="mod">
          <ac:chgData name="Marzullo Annarita Lina" userId="f1050efd-c524-4eca-82e0-644b5c6cdd4c" providerId="ADAL" clId="{0B57C3E4-A146-4ECF-A04B-AB21BAB4E72D}" dt="2023-05-29T11:54:18.423" v="2109" actId="20577"/>
          <ac:spMkLst>
            <pc:docMk/>
            <pc:sldMk cId="2388988774" sldId="1761"/>
            <ac:spMk id="47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53:49.341" v="2105" actId="20577"/>
          <ac:spMkLst>
            <pc:docMk/>
            <pc:sldMk cId="2388988774" sldId="1761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09:18.036" v="204" actId="1076"/>
          <ac:picMkLst>
            <pc:docMk/>
            <pc:sldMk cId="2388988774" sldId="1761"/>
            <ac:picMk id="2" creationId="{E9507BE8-FE26-F697-A875-CE03F3CBAD46}"/>
          </ac:picMkLst>
        </pc:picChg>
        <pc:picChg chg="mod">
          <ac:chgData name="Marzullo Annarita Lina" userId="f1050efd-c524-4eca-82e0-644b5c6cdd4c" providerId="ADAL" clId="{0B57C3E4-A146-4ECF-A04B-AB21BAB4E72D}" dt="2023-05-26T13:09:16.116" v="203" actId="1076"/>
          <ac:picMkLst>
            <pc:docMk/>
            <pc:sldMk cId="2388988774" sldId="1761"/>
            <ac:picMk id="4" creationId="{1495E7BD-E613-6A9F-7985-78CFD951B4DF}"/>
          </ac:picMkLst>
        </pc:picChg>
      </pc:sldChg>
      <pc:sldChg chg="modSp mod">
        <pc:chgData name="Marzullo Annarita Lina" userId="f1050efd-c524-4eca-82e0-644b5c6cdd4c" providerId="ADAL" clId="{0B57C3E4-A146-4ECF-A04B-AB21BAB4E72D}" dt="2023-05-29T12:00:38.041" v="2186" actId="20577"/>
        <pc:sldMkLst>
          <pc:docMk/>
          <pc:sldMk cId="3906969754" sldId="1762"/>
        </pc:sldMkLst>
        <pc:spChg chg="mod">
          <ac:chgData name="Marzullo Annarita Lina" userId="f1050efd-c524-4eca-82e0-644b5c6cdd4c" providerId="ADAL" clId="{0B57C3E4-A146-4ECF-A04B-AB21BAB4E72D}" dt="2023-05-29T12:00:38.041" v="2186" actId="20577"/>
          <ac:spMkLst>
            <pc:docMk/>
            <pc:sldMk cId="3906969754" sldId="1762"/>
            <ac:spMk id="8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2:00:32.918" v="2184" actId="20577"/>
          <ac:spMkLst>
            <pc:docMk/>
            <pc:sldMk cId="3906969754" sldId="1762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26T13:19:06.552" v="218" actId="1076"/>
          <ac:picMkLst>
            <pc:docMk/>
            <pc:sldMk cId="3906969754" sldId="1762"/>
            <ac:picMk id="7" creationId="{FA7B355A-3671-7206-6D90-A76DAC4D41DC}"/>
          </ac:picMkLst>
        </pc:picChg>
      </pc:sldChg>
      <pc:sldChg chg="modSp del mod modNotesTx">
        <pc:chgData name="Marzullo Annarita Lina" userId="f1050efd-c524-4eca-82e0-644b5c6cdd4c" providerId="ADAL" clId="{0B57C3E4-A146-4ECF-A04B-AB21BAB4E72D}" dt="2023-05-29T11:28:53.901" v="1936" actId="47"/>
        <pc:sldMkLst>
          <pc:docMk/>
          <pc:sldMk cId="770549307" sldId="1763"/>
        </pc:sldMkLst>
        <pc:spChg chg="mod">
          <ac:chgData name="Marzullo Annarita Lina" userId="f1050efd-c524-4eca-82e0-644b5c6cdd4c" providerId="ADAL" clId="{0B57C3E4-A146-4ECF-A04B-AB21BAB4E72D}" dt="2023-05-26T12:47:56.135" v="21" actId="20577"/>
          <ac:spMkLst>
            <pc:docMk/>
            <pc:sldMk cId="770549307" sldId="1763"/>
            <ac:spMk id="179" creationId="{00000000-0000-0000-0000-000000000000}"/>
          </ac:spMkLst>
        </pc:spChg>
      </pc:sldChg>
      <pc:sldChg chg="del">
        <pc:chgData name="Marzullo Annarita Lina" userId="f1050efd-c524-4eca-82e0-644b5c6cdd4c" providerId="ADAL" clId="{0B57C3E4-A146-4ECF-A04B-AB21BAB4E72D}" dt="2023-05-26T12:45:54" v="4" actId="47"/>
        <pc:sldMkLst>
          <pc:docMk/>
          <pc:sldMk cId="947226247" sldId="1764"/>
        </pc:sldMkLst>
      </pc:sldChg>
      <pc:sldChg chg="modSp mod">
        <pc:chgData name="Marzullo Annarita Lina" userId="f1050efd-c524-4eca-82e0-644b5c6cdd4c" providerId="ADAL" clId="{0B57C3E4-A146-4ECF-A04B-AB21BAB4E72D}" dt="2023-05-29T10:46:23.109" v="1644" actId="1076"/>
        <pc:sldMkLst>
          <pc:docMk/>
          <pc:sldMk cId="2632422754" sldId="1765"/>
        </pc:sldMkLst>
        <pc:graphicFrameChg chg="mod">
          <ac:chgData name="Marzullo Annarita Lina" userId="f1050efd-c524-4eca-82e0-644b5c6cdd4c" providerId="ADAL" clId="{0B57C3E4-A146-4ECF-A04B-AB21BAB4E72D}" dt="2023-05-29T10:46:23.109" v="1644" actId="1076"/>
          <ac:graphicFrameMkLst>
            <pc:docMk/>
            <pc:sldMk cId="2632422754" sldId="1765"/>
            <ac:graphicFrameMk id="19" creationId="{462A95AB-8EF8-7777-BD02-B730F0A80192}"/>
          </ac:graphicFrameMkLst>
        </pc:graphicFrameChg>
        <pc:graphicFrameChg chg="mod">
          <ac:chgData name="Marzullo Annarita Lina" userId="f1050efd-c524-4eca-82e0-644b5c6cdd4c" providerId="ADAL" clId="{0B57C3E4-A146-4ECF-A04B-AB21BAB4E72D}" dt="2023-05-29T10:46:21.173" v="1643" actId="1076"/>
          <ac:graphicFrameMkLst>
            <pc:docMk/>
            <pc:sldMk cId="2632422754" sldId="1765"/>
            <ac:graphicFrameMk id="20" creationId="{0781E2F8-D1EB-157E-D4E8-F4E125864353}"/>
          </ac:graphicFrameMkLst>
        </pc:graphicFrameChg>
      </pc:sldChg>
      <pc:sldChg chg="modSp add mod modNotesTx">
        <pc:chgData name="Marzullo Annarita Lina" userId="f1050efd-c524-4eca-82e0-644b5c6cdd4c" providerId="ADAL" clId="{0B57C3E4-A146-4ECF-A04B-AB21BAB4E72D}" dt="2023-05-30T10:31:47.041" v="2217" actId="14100"/>
        <pc:sldMkLst>
          <pc:docMk/>
          <pc:sldMk cId="3980656809" sldId="1766"/>
        </pc:sldMkLst>
        <pc:spChg chg="mod">
          <ac:chgData name="Marzullo Annarita Lina" userId="f1050efd-c524-4eca-82e0-644b5c6cdd4c" providerId="ADAL" clId="{0B57C3E4-A146-4ECF-A04B-AB21BAB4E72D}" dt="2023-05-30T10:31:47.041" v="2217" actId="14100"/>
          <ac:spMkLst>
            <pc:docMk/>
            <pc:sldMk cId="3980656809" sldId="1766"/>
            <ac:spMk id="6" creationId="{18CC2AC4-145D-FADE-0EBD-720FAC62EF6B}"/>
          </ac:spMkLst>
        </pc:spChg>
        <pc:spChg chg="mod">
          <ac:chgData name="Marzullo Annarita Lina" userId="f1050efd-c524-4eca-82e0-644b5c6cdd4c" providerId="ADAL" clId="{0B57C3E4-A146-4ECF-A04B-AB21BAB4E72D}" dt="2023-05-30T10:31:16.664" v="2213" actId="14100"/>
          <ac:spMkLst>
            <pc:docMk/>
            <pc:sldMk cId="3980656809" sldId="1766"/>
            <ac:spMk id="9" creationId="{F5965169-7A40-4117-9419-075C048CA34C}"/>
          </ac:spMkLst>
        </pc:spChg>
        <pc:spChg chg="mod">
          <ac:chgData name="Marzullo Annarita Lina" userId="f1050efd-c524-4eca-82e0-644b5c6cdd4c" providerId="ADAL" clId="{0B57C3E4-A146-4ECF-A04B-AB21BAB4E72D}" dt="2023-05-29T11:29:33.482" v="1944" actId="20577"/>
          <ac:spMkLst>
            <pc:docMk/>
            <pc:sldMk cId="3980656809" sldId="1766"/>
            <ac:spMk id="179" creationId="{00000000-0000-0000-0000-000000000000}"/>
          </ac:spMkLst>
        </pc:spChg>
        <pc:picChg chg="mod">
          <ac:chgData name="Marzullo Annarita Lina" userId="f1050efd-c524-4eca-82e0-644b5c6cdd4c" providerId="ADAL" clId="{0B57C3E4-A146-4ECF-A04B-AB21BAB4E72D}" dt="2023-05-30T10:31:22.280" v="2214" actId="14100"/>
          <ac:picMkLst>
            <pc:docMk/>
            <pc:sldMk cId="3980656809" sldId="1766"/>
            <ac:picMk id="2" creationId="{52F9CA17-478F-38A8-4E42-FD08BFCA5F42}"/>
          </ac:picMkLst>
        </pc:picChg>
        <pc:picChg chg="mod">
          <ac:chgData name="Marzullo Annarita Lina" userId="f1050efd-c524-4eca-82e0-644b5c6cdd4c" providerId="ADAL" clId="{0B57C3E4-A146-4ECF-A04B-AB21BAB4E72D}" dt="2023-05-30T10:31:09.152" v="2211" actId="1076"/>
          <ac:picMkLst>
            <pc:docMk/>
            <pc:sldMk cId="3980656809" sldId="1766"/>
            <ac:picMk id="37" creationId="{00000000-0000-0000-0000-000000000000}"/>
          </ac:picMkLst>
        </pc:picChg>
      </pc:sldChg>
    </pc:docChg>
  </pc:docChgLst>
  <pc:docChgLst>
    <pc:chgData name="Defabrizio Lucia" userId="S::mi02249@istruzione.it::9bbd8019-394f-4439-93d6-a1df854ee8ed" providerId="AD" clId="Web-{4F46E411-20BF-4D8D-90F1-F570EB052711}"/>
    <pc:docChg chg="modSld">
      <pc:chgData name="Defabrizio Lucia" userId="S::mi02249@istruzione.it::9bbd8019-394f-4439-93d6-a1df854ee8ed" providerId="AD" clId="Web-{4F46E411-20BF-4D8D-90F1-F570EB052711}" dt="2023-05-26T14:41:54.330" v="39" actId="14100"/>
      <pc:docMkLst>
        <pc:docMk/>
      </pc:docMkLst>
      <pc:sldChg chg="modSp">
        <pc:chgData name="Defabrizio Lucia" userId="S::mi02249@istruzione.it::9bbd8019-394f-4439-93d6-a1df854ee8ed" providerId="AD" clId="Web-{4F46E411-20BF-4D8D-90F1-F570EB052711}" dt="2023-05-26T14:41:54.330" v="39" actId="14100"/>
        <pc:sldMkLst>
          <pc:docMk/>
          <pc:sldMk cId="1512536805" sldId="1741"/>
        </pc:sldMkLst>
        <pc:spChg chg="mod">
          <ac:chgData name="Defabrizio Lucia" userId="S::mi02249@istruzione.it::9bbd8019-394f-4439-93d6-a1df854ee8ed" providerId="AD" clId="Web-{4F46E411-20BF-4D8D-90F1-F570EB052711}" dt="2023-05-26T14:41:54.330" v="39" actId="14100"/>
          <ac:spMkLst>
            <pc:docMk/>
            <pc:sldMk cId="1512536805" sldId="1741"/>
            <ac:spMk id="24" creationId="{613A5322-FAE1-4182-8E5D-84617317D8DF}"/>
          </ac:spMkLst>
        </pc:spChg>
      </pc:sldChg>
      <pc:sldChg chg="addSp delSp modSp">
        <pc:chgData name="Defabrizio Lucia" userId="S::mi02249@istruzione.it::9bbd8019-394f-4439-93d6-a1df854ee8ed" providerId="AD" clId="Web-{4F46E411-20BF-4D8D-90F1-F570EB052711}" dt="2023-05-26T14:39:39.842" v="23" actId="1076"/>
        <pc:sldMkLst>
          <pc:docMk/>
          <pc:sldMk cId="4117124964" sldId="1759"/>
        </pc:sldMkLst>
        <pc:spChg chg="add del mod">
          <ac:chgData name="Defabrizio Lucia" userId="S::mi02249@istruzione.it::9bbd8019-394f-4439-93d6-a1df854ee8ed" providerId="AD" clId="Web-{4F46E411-20BF-4D8D-90F1-F570EB052711}" dt="2023-05-26T14:39:36.983" v="22"/>
          <ac:spMkLst>
            <pc:docMk/>
            <pc:sldMk cId="4117124964" sldId="1759"/>
            <ac:spMk id="8" creationId="{F5965169-7A40-4117-9419-075C048CA34C}"/>
          </ac:spMkLst>
        </pc:spChg>
        <pc:spChg chg="mod">
          <ac:chgData name="Defabrizio Lucia" userId="S::mi02249@istruzione.it::9bbd8019-394f-4439-93d6-a1df854ee8ed" providerId="AD" clId="Web-{4F46E411-20BF-4D8D-90F1-F570EB052711}" dt="2023-05-26T14:39:39.842" v="23" actId="1076"/>
          <ac:spMkLst>
            <pc:docMk/>
            <pc:sldMk cId="4117124964" sldId="1759"/>
            <ac:spMk id="18" creationId="{81738978-BFD4-0D8A-C56E-29F4D63C91E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0F837E-2716-47A2-B83D-3E8BD32A1D29}" type="datetimeFigureOut">
              <a:rPr lang="it-IT" smtClean="0"/>
              <a:t>30/05/2023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76A5B9-14B6-4C57-BF04-02D4C67C1B6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1314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A432BA-FAF3-4B8D-A8BC-33B29632AD84}" type="datetimeFigureOut">
              <a:rPr lang="it-IT" smtClean="0"/>
              <a:t>30/05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A7040-73EC-43B8-B461-C7FA9179F2A2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4413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6700" cy="3722687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8377BB1-BB3E-4EDF-B5FC-A3BA0BC965C5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4216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36807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313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8239979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301304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123361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920334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367813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2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59483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65568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484326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94127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6872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b="1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068672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183425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4698134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EA7040-73EC-43B8-B461-C7FA9179F2A2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69724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grpSp>
        <p:nvGrpSpPr>
          <p:cNvPr id="4" name="Gruppo 3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5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Ovale 6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cxnSp>
        <p:nvCxnSpPr>
          <p:cNvPr id="8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707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Ovale 4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47916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9547925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Ovale 4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78648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vale 6"/>
          <p:cNvSpPr/>
          <p:nvPr userDrawn="1"/>
        </p:nvSpPr>
        <p:spPr>
          <a:xfrm>
            <a:off x="2110353" y="6685117"/>
            <a:ext cx="73025" cy="7351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>
              <a:solidFill>
                <a:schemeClr val="bg1"/>
              </a:solidFill>
            </a:endParaRPr>
          </a:p>
        </p:txBody>
      </p:sp>
      <p:cxnSp>
        <p:nvCxnSpPr>
          <p:cNvPr id="8" name="Connettore 1 9"/>
          <p:cNvCxnSpPr/>
          <p:nvPr userDrawn="1"/>
        </p:nvCxnSpPr>
        <p:spPr>
          <a:xfrm>
            <a:off x="595429" y="967927"/>
            <a:ext cx="11016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ttangolo 34">
            <a:extLst>
              <a:ext uri="{FF2B5EF4-FFF2-40B4-BE49-F238E27FC236}">
                <a16:creationId xmlns:a16="http://schemas.microsoft.com/office/drawing/2014/main" id="{4397C63E-92A1-1B0E-180E-0164A5957DB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26038" y="6246867"/>
            <a:ext cx="3689350" cy="495660"/>
          </a:xfrm>
          <a:prstGeom prst="rect">
            <a:avLst/>
          </a:prstGeom>
          <a:solidFill>
            <a:schemeClr val="bg1"/>
          </a:solidFill>
          <a:ln w="317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defTabSz="844062" eaLnBrk="0" hangingPunct="0"/>
            <a:r>
              <a:rPr lang="it-IT" sz="1847" dirty="0">
                <a:latin typeface="Monotype Corsiva" pitchFamily="66" charset="0"/>
              </a:rPr>
              <a:t>Ministero dell’Istruzione e del Merito</a:t>
            </a:r>
          </a:p>
        </p:txBody>
      </p:sp>
      <p:pic>
        <p:nvPicPr>
          <p:cNvPr id="3" name="Picture 2" descr="C:\Users\vraggi\Desktop\MIUR\logo_miur_home.gif">
            <a:extLst>
              <a:ext uri="{FF2B5EF4-FFF2-40B4-BE49-F238E27FC236}">
                <a16:creationId xmlns:a16="http://schemas.microsoft.com/office/drawing/2014/main" id="{780AD6ED-1E2C-6384-BB30-AB4E1537921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 r="93641"/>
          <a:stretch>
            <a:fillRect/>
          </a:stretch>
        </p:blipFill>
        <p:spPr bwMode="auto">
          <a:xfrm>
            <a:off x="595429" y="6246867"/>
            <a:ext cx="365760" cy="48527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829553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cxnSp>
        <p:nvCxnSpPr>
          <p:cNvPr id="4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51064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  <p:cxnSp>
        <p:nvCxnSpPr>
          <p:cNvPr id="4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6131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7863424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Ovale 4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43209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666119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3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Ovale 4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02918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6" y="203863"/>
            <a:ext cx="10574092" cy="169200"/>
          </a:xfrm>
        </p:spPr>
        <p:txBody>
          <a:bodyPr anchor="b"/>
          <a:lstStyle>
            <a:lvl1pPr>
              <a:spcAft>
                <a:spcPts val="0"/>
              </a:spcAft>
              <a:defRPr sz="1108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0218967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oleObject" Target="../embeddings/oleObject2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3.bin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4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5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6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7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6789853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377E132B-6D3A-455D-B184-3805A161097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schemeClr val="tx1"/>
              </a:solidFill>
              <a:latin typeface="Arial" charset="0"/>
            </a:endParaRPr>
          </a:p>
        </p:txBody>
      </p:sp>
      <p:grpSp>
        <p:nvGrpSpPr>
          <p:cNvPr id="8" name="Gruppo 7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e 12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95904A99-1E6E-4187-BF33-96E233B0C2B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cxnSp>
        <p:nvCxnSpPr>
          <p:cNvPr id="14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144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89" r:id="rId2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 userDrawn="1">
          <p15:clr>
            <a:srgbClr val="F26B43"/>
          </p15:clr>
        </p15:guide>
        <p15:guide id="2" pos="379" userDrawn="1">
          <p15:clr>
            <a:srgbClr val="F26B43"/>
          </p15:clr>
        </p15:guide>
        <p15:guide id="3" pos="7301" userDrawn="1">
          <p15:clr>
            <a:srgbClr val="F26B43"/>
          </p15:clr>
        </p15:guide>
        <p15:guide id="4" orient="horz" pos="742" userDrawn="1">
          <p15:clr>
            <a:srgbClr val="F26B43"/>
          </p15:clr>
        </p15:guide>
        <p15:guide id="6" orient="horz" pos="279" userDrawn="1">
          <p15:clr>
            <a:srgbClr val="F26B43"/>
          </p15:clr>
        </p15:guide>
        <p15:guide id="7" orient="horz" pos="896" userDrawn="1">
          <p15:clr>
            <a:srgbClr val="F26B43"/>
          </p15:clr>
        </p15:guide>
        <p15:guide id="8" pos="3768" userDrawn="1">
          <p15:clr>
            <a:srgbClr val="F26B43"/>
          </p15:clr>
        </p15:guide>
        <p15:guide id="9" pos="391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82971984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37230EC7-84EB-4847-8F85-A07CEF55518E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44546A"/>
                </a:solidFill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rgbClr val="44546A"/>
              </a:solidFill>
              <a:cs typeface="Arial" panose="020B0604020202020204" pitchFamily="34" charset="0"/>
            </a:endParaRPr>
          </a:p>
        </p:txBody>
      </p: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</a:endParaRPr>
          </a:p>
        </p:txBody>
      </p:sp>
      <p:grpSp>
        <p:nvGrpSpPr>
          <p:cNvPr id="15" name="Gruppo 14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16" name="Picture 3"/>
            <p:cNvPicPr>
              <a:picLocks noChangeAspect="1" noChangeArrowheads="1"/>
            </p:cNvPicPr>
            <p:nvPr userDrawn="1"/>
          </p:nvPicPr>
          <p:blipFill rotWithShape="1">
            <a:blip r:embed="rId8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3"/>
            <p:cNvPicPr>
              <a:picLocks noChangeAspect="1" noChangeArrowheads="1"/>
            </p:cNvPicPr>
            <p:nvPr userDrawn="1"/>
          </p:nvPicPr>
          <p:blipFill rotWithShape="1">
            <a:blip r:embed="rId8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Ovale 17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9E0531B6-839E-4D54-B252-FD722FED5294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cxnSp>
        <p:nvCxnSpPr>
          <p:cNvPr id="14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0591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768">
          <p15:clr>
            <a:srgbClr val="F26B43"/>
          </p15:clr>
        </p15:guide>
        <p15:guide id="8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366021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9E240A4D-9B5F-4350-8038-CEC42AC4412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44546A"/>
                </a:solidFill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rgbClr val="44546A"/>
              </a:solidFill>
              <a:cs typeface="Arial" panose="020B0604020202020204" pitchFamily="34" charset="0"/>
            </a:endParaRPr>
          </a:p>
        </p:txBody>
      </p: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</a:endParaRPr>
          </a:p>
        </p:txBody>
      </p:sp>
      <p:grpSp>
        <p:nvGrpSpPr>
          <p:cNvPr id="8" name="Gruppo 7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8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8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e 12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0EA06BD2-A831-416A-9401-326C8D30DCAF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cxnSp>
        <p:nvCxnSpPr>
          <p:cNvPr id="14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3029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768">
          <p15:clr>
            <a:srgbClr val="F26B43"/>
          </p15:clr>
        </p15:guide>
        <p15:guide id="8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47938652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E67B8BD3-B839-4EA9-9A22-F93E13F3012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44546A"/>
                </a:solidFill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rgbClr val="44546A"/>
              </a:solidFill>
              <a:cs typeface="Arial" panose="020B0604020202020204" pitchFamily="34" charset="0"/>
            </a:endParaRPr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</a:endParaRPr>
          </a:p>
        </p:txBody>
      </p:sp>
      <p:grpSp>
        <p:nvGrpSpPr>
          <p:cNvPr id="8" name="Gruppo 7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e 12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3D66233F-7946-4C0E-B9BF-3F29FC45CE7A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915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768">
          <p15:clr>
            <a:srgbClr val="F26B43"/>
          </p15:clr>
        </p15:guide>
        <p15:guide id="8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260747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497304C7-1775-4C39-A25F-A06ECF73BB0D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44546A"/>
                </a:solidFill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rgbClr val="44546A"/>
              </a:solidFill>
              <a:cs typeface="Arial" panose="020B0604020202020204" pitchFamily="34" charset="0"/>
            </a:endParaRPr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</a:endParaRPr>
          </a:p>
        </p:txBody>
      </p:sp>
      <p:grpSp>
        <p:nvGrpSpPr>
          <p:cNvPr id="8" name="Gruppo 7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e 12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8281CC5D-F6FE-42FA-A689-AE934CB651D0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273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768">
          <p15:clr>
            <a:srgbClr val="F26B43"/>
          </p15:clr>
        </p15:guide>
        <p15:guide id="8" pos="391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0865421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890BF206-AE99-4BC2-9DED-E7E10D42323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44546A"/>
                </a:solidFill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rgbClr val="44546A"/>
              </a:solidFill>
              <a:cs typeface="Arial" panose="020B0604020202020204" pitchFamily="34" charset="0"/>
            </a:endParaRPr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</a:endParaRPr>
          </a:p>
        </p:txBody>
      </p:sp>
      <p:grpSp>
        <p:nvGrpSpPr>
          <p:cNvPr id="8" name="Gruppo 7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e 12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46E7CFB4-3A28-495D-8A8B-B0E2C0850F96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6619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768">
          <p15:clr>
            <a:srgbClr val="F26B43"/>
          </p15:clr>
        </p15:guide>
        <p15:guide id="8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8712607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270" imgH="270" progId="TCLayout.ActiveDocument.1">
                  <p:embed/>
                </p:oleObj>
              </mc:Choice>
              <mc:Fallback>
                <p:oleObj name="Diapositiva think-cell" r:id="rId7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 hidden="1">
            <a:extLst>
              <a:ext uri="{FF2B5EF4-FFF2-40B4-BE49-F238E27FC236}">
                <a16:creationId xmlns:a16="http://schemas.microsoft.com/office/drawing/2014/main" id="{D88BF1C8-9D21-44A9-8594-ED108ED0A6D6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mtClean="0">
                <a:solidFill>
                  <a:srgbClr val="44546A"/>
                </a:solidFill>
                <a:cs typeface="Arial" panose="020B0604020202020204" pitchFamily="34" charset="0"/>
              </a:rPr>
              <a:pPr algn="r"/>
              <a:t>‹N›</a:t>
            </a:fld>
            <a:endParaRPr lang="en-US" sz="831">
              <a:solidFill>
                <a:srgbClr val="44546A"/>
              </a:solidFill>
              <a:cs typeface="Arial" panose="020B0604020202020204" pitchFamily="34" charset="0"/>
            </a:endParaRPr>
          </a:p>
        </p:txBody>
      </p:sp>
      <p:cxnSp>
        <p:nvCxnSpPr>
          <p:cNvPr id="10" name="Connettore 1 9"/>
          <p:cNvCxnSpPr/>
          <p:nvPr userDrawn="1"/>
        </p:nvCxnSpPr>
        <p:spPr>
          <a:xfrm>
            <a:off x="159494" y="1010052"/>
            <a:ext cx="11808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Line 47"/>
          <p:cNvSpPr>
            <a:spLocks noChangeShapeType="1"/>
          </p:cNvSpPr>
          <p:nvPr userDrawn="1"/>
        </p:nvSpPr>
        <p:spPr bwMode="auto">
          <a:xfrm>
            <a:off x="159494" y="63244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solidFill>
                <a:prstClr val="black"/>
              </a:solidFill>
            </a:endParaRPr>
          </a:p>
        </p:txBody>
      </p:sp>
      <p:grpSp>
        <p:nvGrpSpPr>
          <p:cNvPr id="8" name="Gruppo 7"/>
          <p:cNvGrpSpPr/>
          <p:nvPr userDrawn="1"/>
        </p:nvGrpSpPr>
        <p:grpSpPr>
          <a:xfrm>
            <a:off x="82799" y="6391175"/>
            <a:ext cx="2100579" cy="463877"/>
            <a:chOff x="82799" y="6391175"/>
            <a:chExt cx="2100579" cy="46387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61358" t="27081" r="25728" b="67870"/>
            <a:stretch/>
          </p:blipFill>
          <p:spPr bwMode="auto">
            <a:xfrm>
              <a:off x="559032" y="6429675"/>
              <a:ext cx="1606884" cy="4253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3"/>
            <p:cNvPicPr>
              <a:picLocks noChangeAspect="1" noChangeArrowheads="1"/>
            </p:cNvPicPr>
            <p:nvPr userDrawn="1"/>
          </p:nvPicPr>
          <p:blipFill rotWithShape="1">
            <a:blip r:embed="rId9" cstate="print"/>
            <a:srcRect l="51974" t="26843" r="44514" b="67870"/>
            <a:stretch/>
          </p:blipFill>
          <p:spPr bwMode="auto">
            <a:xfrm>
              <a:off x="82799" y="6391175"/>
              <a:ext cx="436965" cy="445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Ovale 12"/>
            <p:cNvSpPr/>
            <p:nvPr userDrawn="1"/>
          </p:nvSpPr>
          <p:spPr>
            <a:xfrm>
              <a:off x="2110353" y="6685117"/>
              <a:ext cx="73025" cy="73515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>
                <a:solidFill>
                  <a:schemeClr val="bg1"/>
                </a:solidFill>
              </a:endParaRPr>
            </a:p>
          </p:txBody>
        </p:sp>
      </p:grpSp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id="{B6D84F64-FAB8-4ED8-96D5-30ABA5033C2F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3508" b="0" i="0" baseline="0">
              <a:solidFill>
                <a:schemeClr val="bg1"/>
              </a:solidFill>
              <a:latin typeface="KPMG Extralight" panose="020B0303030202040204" pitchFamily="34" charset="0"/>
              <a:ea typeface="+mj-ea"/>
              <a:cs typeface="+mj-cs"/>
              <a:sym typeface="KPMG Extralight" panose="020B0303030202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2863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5" orient="horz" pos="279">
          <p15:clr>
            <a:srgbClr val="F26B43"/>
          </p15:clr>
        </p15:guide>
        <p15:guide id="6" orient="horz" pos="896">
          <p15:clr>
            <a:srgbClr val="F26B43"/>
          </p15:clr>
        </p15:guide>
        <p15:guide id="7" pos="3768">
          <p15:clr>
            <a:srgbClr val="F26B43"/>
          </p15:clr>
        </p15:guide>
        <p15:guide id="8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g"/><Relationship Id="rId4" Type="http://schemas.openxmlformats.org/officeDocument/2006/relationships/image" Target="../media/image3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3"/>
          <p:cNvSpPr>
            <a:spLocks noChangeArrowheads="1"/>
          </p:cNvSpPr>
          <p:nvPr/>
        </p:nvSpPr>
        <p:spPr bwMode="auto">
          <a:xfrm>
            <a:off x="601662" y="2458487"/>
            <a:ext cx="10988675" cy="203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840" tIns="44923" rIns="89840" bIns="44923"/>
          <a:lstStyle/>
          <a:p>
            <a:pPr algn="ctr" defTabSz="889488" eaLnBrk="0" hangingPunct="0">
              <a:spcBef>
                <a:spcPct val="25000"/>
              </a:spcBef>
              <a:defRPr/>
            </a:pPr>
            <a:endParaRPr lang="it-IT" sz="2800" b="1" dirty="0"/>
          </a:p>
          <a:p>
            <a:pPr algn="ctr" defTabSz="889488" eaLnBrk="0" hangingPunct="0">
              <a:spcBef>
                <a:spcPct val="25000"/>
              </a:spcBef>
              <a:defRPr/>
            </a:pPr>
            <a:r>
              <a:rPr lang="it-IT" sz="2800" b="1" dirty="0">
                <a:solidFill>
                  <a:srgbClr val="00338D"/>
                </a:solidFill>
              </a:rPr>
              <a:t>Esami di Stato 2023</a:t>
            </a:r>
          </a:p>
          <a:p>
            <a:pPr algn="ctr" defTabSz="889488" eaLnBrk="0" hangingPunct="0">
              <a:spcBef>
                <a:spcPct val="25000"/>
              </a:spcBef>
              <a:defRPr/>
            </a:pPr>
            <a:r>
              <a:rPr lang="it-IT" sz="2800" dirty="0">
                <a:solidFill>
                  <a:srgbClr val="00338D"/>
                </a:solidFill>
              </a:rPr>
              <a:t>Utilizzo dell’applicativo Commissione Web</a:t>
            </a:r>
          </a:p>
        </p:txBody>
      </p:sp>
      <p:sp>
        <p:nvSpPr>
          <p:cNvPr id="14" name="Line 47"/>
          <p:cNvSpPr>
            <a:spLocks noChangeShapeType="1"/>
          </p:cNvSpPr>
          <p:nvPr/>
        </p:nvSpPr>
        <p:spPr bwMode="auto">
          <a:xfrm>
            <a:off x="211946" y="1939533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latin typeface="Arial" charset="0"/>
            </a:endParaRPr>
          </a:p>
        </p:txBody>
      </p:sp>
      <p:sp>
        <p:nvSpPr>
          <p:cNvPr id="8" name="Rectangle 13"/>
          <p:cNvSpPr>
            <a:spLocks noChangeArrowheads="1"/>
          </p:cNvSpPr>
          <p:nvPr/>
        </p:nvSpPr>
        <p:spPr bwMode="auto">
          <a:xfrm>
            <a:off x="4510551" y="6015551"/>
            <a:ext cx="7509395" cy="490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840" tIns="44923" rIns="89840" bIns="44923"/>
          <a:lstStyle/>
          <a:p>
            <a:pPr algn="r" defTabSz="889488" eaLnBrk="0" hangingPunct="0">
              <a:spcBef>
                <a:spcPct val="25000"/>
              </a:spcBef>
              <a:defRPr/>
            </a:pPr>
            <a:endParaRPr lang="it-IT" sz="1600"/>
          </a:p>
        </p:txBody>
      </p:sp>
      <p:sp>
        <p:nvSpPr>
          <p:cNvPr id="9" name="Line 47"/>
          <p:cNvSpPr>
            <a:spLocks noChangeShapeType="1"/>
          </p:cNvSpPr>
          <p:nvPr/>
        </p:nvSpPr>
        <p:spPr bwMode="auto">
          <a:xfrm>
            <a:off x="200630" y="5944111"/>
            <a:ext cx="11808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endParaRPr lang="it-IT" sz="1292">
              <a:latin typeface="Arial" charset="0"/>
            </a:endParaRPr>
          </a:p>
        </p:txBody>
      </p:sp>
      <p:sp>
        <p:nvSpPr>
          <p:cNvPr id="10" name="Rettangolo 34"/>
          <p:cNvSpPr>
            <a:spLocks noChangeArrowheads="1"/>
          </p:cNvSpPr>
          <p:nvPr/>
        </p:nvSpPr>
        <p:spPr bwMode="auto">
          <a:xfrm>
            <a:off x="314935" y="235637"/>
            <a:ext cx="11415103" cy="1574918"/>
          </a:xfrm>
          <a:prstGeom prst="rect">
            <a:avLst/>
          </a:prstGeom>
          <a:solidFill>
            <a:schemeClr val="bg1"/>
          </a:solidFill>
          <a:ln w="3175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defTabSz="844062" eaLnBrk="0" hangingPunct="0"/>
            <a:endParaRPr lang="it-IT" sz="1292" dirty="0">
              <a:latin typeface="Arial" charset="0"/>
            </a:endParaRPr>
          </a:p>
          <a:p>
            <a:pPr algn="ctr" defTabSz="844062" eaLnBrk="0" hangingPunct="0"/>
            <a:endParaRPr lang="it-IT" sz="1292" dirty="0">
              <a:latin typeface="Arial" charset="0"/>
            </a:endParaRPr>
          </a:p>
          <a:p>
            <a:pPr algn="ctr" defTabSz="844062" eaLnBrk="0" hangingPunct="0"/>
            <a:r>
              <a:rPr lang="it-IT" sz="1847" dirty="0">
                <a:latin typeface="Monotype Corsiva" pitchFamily="66" charset="0"/>
              </a:rPr>
              <a:t>Ministero dell’Istruzione e del Merito</a:t>
            </a:r>
          </a:p>
          <a:p>
            <a:pPr algn="ctr" defTabSz="844062" eaLnBrk="0" hangingPunct="0"/>
            <a:r>
              <a:rPr lang="it-IT" sz="1847" dirty="0">
                <a:latin typeface="Monotype Corsiva" pitchFamily="66" charset="0"/>
              </a:rPr>
              <a:t>Direzione Generale per i sistemi informativi e la statistica</a:t>
            </a:r>
          </a:p>
        </p:txBody>
      </p:sp>
      <p:pic>
        <p:nvPicPr>
          <p:cNvPr id="11" name="Picture 2" descr="C:\Users\vraggi\Desktop\MIUR\logo_miur_home.gif"/>
          <p:cNvPicPr>
            <a:picLocks noChangeAspect="1" noChangeArrowheads="1"/>
          </p:cNvPicPr>
          <p:nvPr/>
        </p:nvPicPr>
        <p:blipFill>
          <a:blip r:embed="rId6" cstate="print"/>
          <a:srcRect r="93641"/>
          <a:stretch>
            <a:fillRect/>
          </a:stretch>
        </p:blipFill>
        <p:spPr bwMode="auto">
          <a:xfrm>
            <a:off x="5730913" y="194757"/>
            <a:ext cx="583146" cy="773688"/>
          </a:xfrm>
          <a:prstGeom prst="rect">
            <a:avLst/>
          </a:prstGeom>
          <a:noFill/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780BA4D8-A7E2-4B2A-A43E-85417AC2FFC2}"/>
              </a:ext>
            </a:extLst>
          </p:cNvPr>
          <p:cNvSpPr txBox="1"/>
          <p:nvPr/>
        </p:nvSpPr>
        <p:spPr>
          <a:xfrm>
            <a:off x="5880295" y="4812102"/>
            <a:ext cx="5849743" cy="51221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i="1" dirty="0">
                <a:solidFill>
                  <a:srgbClr val="00338D"/>
                </a:solidFill>
              </a:rPr>
              <a:t>Direzione Generale per i sistemi informativi e la statistica</a:t>
            </a:r>
          </a:p>
          <a:p>
            <a:pPr algn="ctr">
              <a:spcAft>
                <a:spcPts val="600"/>
              </a:spcAft>
            </a:pPr>
            <a:r>
              <a:rPr lang="it-IT" sz="1800" i="1" dirty="0">
                <a:solidFill>
                  <a:srgbClr val="00338D"/>
                </a:solidFill>
              </a:rPr>
              <a:t>Dirigente Ufficio V - Statistica</a:t>
            </a:r>
          </a:p>
          <a:p>
            <a:pPr algn="ctr">
              <a:spcAft>
                <a:spcPts val="600"/>
              </a:spcAft>
            </a:pPr>
            <a:r>
              <a:rPr lang="it-IT" sz="1800" i="1" dirty="0">
                <a:solidFill>
                  <a:srgbClr val="00338D"/>
                </a:solidFill>
              </a:rPr>
              <a:t>Annarita Lina Marzullo</a:t>
            </a:r>
          </a:p>
        </p:txBody>
      </p:sp>
    </p:spTree>
    <p:extLst>
      <p:ext uri="{BB962C8B-B14F-4D97-AF65-F5344CB8AC3E}">
        <p14:creationId xmlns:p14="http://schemas.microsoft.com/office/powerpoint/2010/main" val="1796281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3. Insediamento (1/6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9094463" y="2755542"/>
            <a:ext cx="2405747" cy="16025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1 I menu </a:t>
            </a:r>
            <a:r>
              <a:rPr lang="it-IT" sz="1200" dirty="0">
                <a:solidFill>
                  <a:prstClr val="black"/>
                </a:solidFill>
              </a:rPr>
              <a:t>sono strutturati su </a:t>
            </a:r>
            <a:r>
              <a:rPr lang="it-IT" sz="1200" b="1" dirty="0">
                <a:solidFill>
                  <a:prstClr val="black"/>
                </a:solidFill>
              </a:rPr>
              <a:t>due livelli</a:t>
            </a:r>
            <a:r>
              <a:rPr lang="it-IT" sz="1200" dirty="0">
                <a:solidFill>
                  <a:prstClr val="black"/>
                </a:solidFill>
              </a:rPr>
              <a:t>: al primo livello sono riportate tutte le voci che corrispondono alle diverse fasi, al secondo livello tutte le voci di ogni singola attività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86AB06D-7D71-7220-BAA6-10D4980BC56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35693" y="3340820"/>
            <a:ext cx="432000" cy="432000"/>
          </a:xfrm>
          <a:prstGeom prst="rect">
            <a:avLst/>
          </a:prstGeom>
        </p:spPr>
      </p:pic>
      <p:pic>
        <p:nvPicPr>
          <p:cNvPr id="7" name="Picture 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98B62C3D-F0F3-7EE6-1CBD-82104CD023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830" y="1762529"/>
            <a:ext cx="7927093" cy="3588582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2605850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3. </a:t>
            </a:r>
            <a:r>
              <a:rPr lang="it-IT" sz="2400" b="1" dirty="0">
                <a:solidFill>
                  <a:schemeClr val="tx2"/>
                </a:solidFill>
                <a:highlight>
                  <a:srgbClr val="FFFFFF"/>
                </a:highlight>
              </a:rPr>
              <a:t>Insediamento (2/6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10063876" y="1610844"/>
            <a:ext cx="1894116" cy="18181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2 Definizione classi d’esame: </a:t>
            </a:r>
            <a:r>
              <a:rPr lang="it-IT" sz="1200" dirty="0">
                <a:solidFill>
                  <a:prstClr val="black"/>
                </a:solidFill>
              </a:rPr>
              <a:t>Funzione che consente di </a:t>
            </a:r>
            <a:r>
              <a:rPr lang="it-IT" sz="1200" b="1" dirty="0">
                <a:solidFill>
                  <a:prstClr val="black"/>
                </a:solidFill>
              </a:rPr>
              <a:t>assegnare un nome alla classe d’esame </a:t>
            </a:r>
            <a:r>
              <a:rPr lang="it-IT" sz="1200" dirty="0">
                <a:solidFill>
                  <a:prstClr val="black"/>
                </a:solidFill>
              </a:rPr>
              <a:t>(anno/sezione)</a:t>
            </a:r>
          </a:p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NB</a:t>
            </a:r>
            <a:r>
              <a:rPr lang="it-IT" sz="1200" dirty="0">
                <a:solidFill>
                  <a:prstClr val="black"/>
                </a:solidFill>
              </a:rPr>
              <a:t>: verificare quanto trasmesso dal SIDI ed eventualmente modificare se necessario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10063876" y="3895034"/>
            <a:ext cx="1894117" cy="15285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3 Registrazione Assenze Commissari: </a:t>
            </a:r>
            <a:r>
              <a:rPr lang="it-IT" sz="1200" dirty="0">
                <a:solidFill>
                  <a:prstClr val="black"/>
                </a:solidFill>
              </a:rPr>
              <a:t>Funzione per </a:t>
            </a:r>
            <a:r>
              <a:rPr lang="it-IT" sz="1200" b="1" dirty="0">
                <a:solidFill>
                  <a:prstClr val="black"/>
                </a:solidFill>
              </a:rPr>
              <a:t>registrare l’assenza di un membro della commissione</a:t>
            </a:r>
            <a:r>
              <a:rPr lang="it-IT" sz="1200" dirty="0">
                <a:solidFill>
                  <a:prstClr val="black"/>
                </a:solidFill>
              </a:rPr>
              <a:t>, indicando la data e l’eventuale necessità di sostituzion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52059" y="4443292"/>
            <a:ext cx="432000" cy="432000"/>
          </a:xfrm>
          <a:prstGeom prst="rect">
            <a:avLst/>
          </a:prstGeom>
        </p:spPr>
      </p:pic>
      <p:pic>
        <p:nvPicPr>
          <p:cNvPr id="8" name="Picture 7" descr="A screenshot of a computer&#10;&#10;Description automatically generated">
            <a:extLst>
              <a:ext uri="{FF2B5EF4-FFF2-40B4-BE49-F238E27FC236}">
                <a16:creationId xmlns:a16="http://schemas.microsoft.com/office/drawing/2014/main" id="{74A734A8-6B25-E389-F8EC-A6E43D993D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4008" y="1610845"/>
            <a:ext cx="9286085" cy="4141327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552059" y="2242973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5325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3</a:t>
            </a:r>
            <a:r>
              <a:rPr lang="it-IT" sz="2400" b="1" dirty="0">
                <a:solidFill>
                  <a:schemeClr val="tx2"/>
                </a:solidFill>
                <a:highlight>
                  <a:srgbClr val="FFFFFF"/>
                </a:highlight>
              </a:rPr>
              <a:t>. Insediamento (3/6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700290" y="2042919"/>
            <a:ext cx="3043692" cy="10581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4 Attribuzione Ruoli Commissari: </a:t>
            </a:r>
            <a:r>
              <a:rPr lang="it-IT" sz="1200" dirty="0">
                <a:solidFill>
                  <a:prstClr val="black"/>
                </a:solidFill>
              </a:rPr>
              <a:t>Funzione che consente di </a:t>
            </a:r>
            <a:r>
              <a:rPr lang="it-IT" sz="1200" b="1" dirty="0">
                <a:solidFill>
                  <a:prstClr val="black"/>
                </a:solidFill>
              </a:rPr>
              <a:t>inserire, modificare e cancellare i ruoli ai componenti della commission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700290" y="3505595"/>
            <a:ext cx="3043693" cy="9035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5. Stampa Dichiarazione Commissario: </a:t>
            </a:r>
            <a:r>
              <a:rPr lang="it-IT" sz="1200" dirty="0">
                <a:solidFill>
                  <a:prstClr val="black"/>
                </a:solidFill>
              </a:rPr>
              <a:t>Funzione per </a:t>
            </a:r>
            <a:r>
              <a:rPr lang="it-IT" sz="1200" b="1" dirty="0">
                <a:solidFill>
                  <a:prstClr val="black"/>
                </a:solidFill>
              </a:rPr>
              <a:t>stampare le dichiarazioni sui vincoli di parentela.</a:t>
            </a:r>
            <a:endParaRPr lang="it-IT" sz="1200" dirty="0">
              <a:solidFill>
                <a:prstClr val="black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28624" y="2315426"/>
            <a:ext cx="432000" cy="432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47638" y="3741352"/>
            <a:ext cx="432000" cy="432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0174626-DB86-D9C0-C02D-8F98BEC057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212" y="1290764"/>
            <a:ext cx="7223760" cy="36205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440706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3. </a:t>
            </a:r>
            <a:r>
              <a:rPr lang="it-IT" sz="2400" b="1" dirty="0">
                <a:solidFill>
                  <a:schemeClr val="tx2"/>
                </a:solidFill>
                <a:highlight>
                  <a:srgbClr val="FFFFFF"/>
                </a:highlight>
              </a:rPr>
              <a:t>Insediamento (4/6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850087" y="1133700"/>
            <a:ext cx="2749776" cy="18381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6 Elenco candidati: </a:t>
            </a:r>
            <a:r>
              <a:rPr lang="it-IT" sz="1200" dirty="0">
                <a:solidFill>
                  <a:prstClr val="black"/>
                </a:solidFill>
              </a:rPr>
              <a:t>Funzione che consente di visualizzare e stampare l’elenco dei candidati all’esame associati alla commissione.</a:t>
            </a:r>
          </a:p>
          <a:p>
            <a:pPr algn="just"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Dall’Elenco candidati è possibile accedere alla </a:t>
            </a:r>
            <a:r>
              <a:rPr lang="it-IT" sz="1200" b="1" dirty="0">
                <a:solidFill>
                  <a:prstClr val="black"/>
                </a:solidFill>
              </a:rPr>
              <a:t>visualizzazione del Curriculum </a:t>
            </a:r>
            <a:r>
              <a:rPr lang="it-IT" sz="1200" dirty="0">
                <a:solidFill>
                  <a:prstClr val="black"/>
                </a:solidFill>
              </a:rPr>
              <a:t>cliccando sul pulsante </a:t>
            </a:r>
            <a:r>
              <a:rPr lang="it-IT" sz="1200" b="1" dirty="0">
                <a:solidFill>
                  <a:prstClr val="black"/>
                </a:solidFill>
              </a:rPr>
              <a:t>«Visualizza Curriculum»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850086" y="3148623"/>
            <a:ext cx="2749777" cy="33828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7 Visualizza/Stampa Scheda di Presentazione Candidato: </a:t>
            </a:r>
            <a:r>
              <a:rPr lang="it-IT" sz="1200" dirty="0">
                <a:solidFill>
                  <a:prstClr val="black"/>
                </a:solidFill>
              </a:rPr>
              <a:t>Funzione che permette di </a:t>
            </a:r>
            <a:r>
              <a:rPr lang="it-IT" sz="1200" b="1" dirty="0">
                <a:solidFill>
                  <a:prstClr val="black"/>
                </a:solidFill>
              </a:rPr>
              <a:t>visualizzare la scheda di presentazione del candidato </a:t>
            </a:r>
            <a:r>
              <a:rPr lang="it-IT" sz="1200" dirty="0">
                <a:solidFill>
                  <a:prstClr val="black"/>
                </a:solidFill>
              </a:rPr>
              <a:t>(prima dell’avvio degli esami) e di </a:t>
            </a:r>
            <a:r>
              <a:rPr lang="it-IT" sz="1200" b="1" dirty="0">
                <a:solidFill>
                  <a:prstClr val="black"/>
                </a:solidFill>
              </a:rPr>
              <a:t>stampare la scheda completa di tutti i dati relativi agli esiti </a:t>
            </a:r>
            <a:r>
              <a:rPr lang="it-IT" sz="1200" dirty="0">
                <a:solidFill>
                  <a:prstClr val="black"/>
                </a:solidFill>
              </a:rPr>
              <a:t>delle prove (avviati gli esami e concluse le valutazioni).</a:t>
            </a:r>
          </a:p>
          <a:p>
            <a:pPr algn="just"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Dalla Scheda di Presentazione Candidato è possibile accedere alla </a:t>
            </a:r>
            <a:r>
              <a:rPr lang="it-IT" sz="1200" b="1" dirty="0">
                <a:solidFill>
                  <a:prstClr val="black"/>
                </a:solidFill>
              </a:rPr>
              <a:t>visualizzazione del Curriculum </a:t>
            </a:r>
            <a:r>
              <a:rPr lang="it-IT" sz="1200" dirty="0">
                <a:solidFill>
                  <a:prstClr val="black"/>
                </a:solidFill>
              </a:rPr>
              <a:t>cliccando sul pulsante </a:t>
            </a:r>
            <a:r>
              <a:rPr lang="it-IT" sz="1200" b="1" dirty="0">
                <a:solidFill>
                  <a:prstClr val="black"/>
                </a:solidFill>
              </a:rPr>
              <a:t>«Visualizza Curriculum» </a:t>
            </a:r>
            <a:r>
              <a:rPr lang="it-IT" sz="1200" dirty="0">
                <a:solidFill>
                  <a:prstClr val="black"/>
                </a:solidFill>
              </a:rPr>
              <a:t>mentre con il tasto </a:t>
            </a:r>
            <a:r>
              <a:rPr lang="it-IT" sz="1200" b="1" dirty="0">
                <a:solidFill>
                  <a:prstClr val="black"/>
                </a:solidFill>
              </a:rPr>
              <a:t>«Stampa curriculum» </a:t>
            </a:r>
            <a:r>
              <a:rPr lang="it-IT" sz="1200" dirty="0">
                <a:solidFill>
                  <a:prstClr val="black"/>
                </a:solidFill>
              </a:rPr>
              <a:t>si ottiene in curriculum in formato PDF.</a:t>
            </a:r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5AA81C68-6905-FF71-CC43-75AD0264B6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7469" y="1383278"/>
            <a:ext cx="7903129" cy="4091443"/>
          </a:xfrm>
          <a:prstGeom prst="rect">
            <a:avLst/>
          </a:prstGeom>
          <a:solidFill>
            <a:schemeClr val="accent1">
              <a:lumMod val="75000"/>
            </a:schemeClr>
          </a:solidFill>
          <a:effectLst>
            <a:outerShdw blurRad="50800" dist="50800" dir="5400000" algn="ctr" rotWithShape="0">
              <a:schemeClr val="accent1">
                <a:lumMod val="60000"/>
                <a:lumOff val="40000"/>
              </a:scheme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30598" y="1831812"/>
            <a:ext cx="432000" cy="432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F1BBA20E-761A-C3D6-2EE6-B9F894784F2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330598" y="4976875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6004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490175" y="210668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3. </a:t>
            </a:r>
            <a:r>
              <a:rPr lang="it-IT" sz="2400" b="1" dirty="0">
                <a:solidFill>
                  <a:schemeClr val="tx2"/>
                </a:solidFill>
                <a:highlight>
                  <a:srgbClr val="FFFFFF"/>
                </a:highlight>
              </a:rPr>
              <a:t>Insediamento (5/6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887661" y="1034286"/>
            <a:ext cx="3991492" cy="14025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7 Visualizza/Stampa </a:t>
            </a:r>
            <a:r>
              <a:rPr lang="it-IT" sz="1200" b="1" i="0" u="none" strike="noStrike" kern="1200" baseline="0" noProof="0" dirty="0">
                <a:solidFill>
                  <a:schemeClr val="tx1"/>
                </a:solidFill>
                <a:effectLst/>
              </a:rPr>
              <a:t>visualizza curriculum</a:t>
            </a:r>
            <a:endParaRPr lang="it-IT" sz="1200" b="1" i="0" u="none" strike="noStrike" kern="1200" baseline="0" noProof="0" dirty="0">
              <a:solidFill>
                <a:prstClr val="black"/>
              </a:solidFill>
              <a:effectLst/>
            </a:endParaRPr>
          </a:p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schemeClr val="accent2"/>
                </a:solidFill>
              </a:rPr>
              <a:t>Novità</a:t>
            </a:r>
            <a:r>
              <a:rPr lang="it-IT" sz="1200" dirty="0">
                <a:solidFill>
                  <a:prstClr val="black"/>
                </a:solidFill>
              </a:rPr>
              <a:t>: Le scuole che gestiscono gli indirizzi dei nuovi professionali potranno caratterizzare il Quadro Orario non solo con il codice Ateco  ma anche le eventuali codifiche SEP (Settori Economico Professionali) e NUP (Nomenclatura delle Unità Professionali)</a:t>
            </a:r>
            <a:r>
              <a:rPr lang="it-IT" sz="1200" i="0" u="none" strike="noStrike" kern="1200" baseline="0" noProof="0" dirty="0">
                <a:solidFill>
                  <a:schemeClr val="tx1"/>
                </a:solidFill>
                <a:effectLst/>
              </a:rPr>
              <a:t>. </a:t>
            </a:r>
            <a:endParaRPr lang="it-IT" sz="1200" dirty="0">
              <a:solidFill>
                <a:prstClr val="black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014525" y="1510897"/>
            <a:ext cx="432000" cy="432000"/>
          </a:xfrm>
          <a:prstGeom prst="rect">
            <a:avLst/>
          </a:prstGeom>
        </p:spPr>
      </p:pic>
      <p:pic>
        <p:nvPicPr>
          <p:cNvPr id="2" name="Immagine 1">
            <a:extLst>
              <a:ext uri="{FF2B5EF4-FFF2-40B4-BE49-F238E27FC236}">
                <a16:creationId xmlns:a16="http://schemas.microsoft.com/office/drawing/2014/main" id="{52F9CA17-478F-38A8-4E42-FD08BFCA5F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4525" y="2708288"/>
            <a:ext cx="4864628" cy="3605948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BA68C954-1177-32DE-51AC-A9DDED82599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2847" y="1034286"/>
            <a:ext cx="6304189" cy="4231308"/>
          </a:xfrm>
          <a:prstGeom prst="rect">
            <a:avLst/>
          </a:prstGeom>
        </p:spPr>
      </p:pic>
      <p:sp>
        <p:nvSpPr>
          <p:cNvPr id="6" name="Rectangle 8">
            <a:extLst>
              <a:ext uri="{FF2B5EF4-FFF2-40B4-BE49-F238E27FC236}">
                <a16:creationId xmlns:a16="http://schemas.microsoft.com/office/drawing/2014/main" id="{18CC2AC4-145D-FADE-0EBD-720FAC62EF6B}"/>
              </a:ext>
            </a:extLst>
          </p:cNvPr>
          <p:cNvSpPr/>
          <p:nvPr/>
        </p:nvSpPr>
        <p:spPr>
          <a:xfrm>
            <a:off x="312847" y="5281050"/>
            <a:ext cx="6304189" cy="10331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8 Visualizza/Stampa </a:t>
            </a:r>
            <a:r>
              <a:rPr lang="it-IT" sz="1200" b="1" i="0" u="none" strike="noStrike" kern="1200" baseline="0" noProof="0" dirty="0">
                <a:solidFill>
                  <a:schemeClr val="tx1"/>
                </a:solidFill>
                <a:effectLst/>
              </a:rPr>
              <a:t>visualizza curriculum</a:t>
            </a:r>
            <a:endParaRPr lang="it-IT" sz="1200" b="1" i="0" u="none" strike="noStrike" kern="1200" baseline="0" noProof="0" dirty="0">
              <a:solidFill>
                <a:prstClr val="black"/>
              </a:solidFill>
              <a:effectLst/>
            </a:endParaRPr>
          </a:p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schemeClr val="accent2"/>
                </a:solidFill>
              </a:rPr>
              <a:t>Novità</a:t>
            </a:r>
            <a:r>
              <a:rPr lang="it-IT" sz="1200" dirty="0">
                <a:solidFill>
                  <a:prstClr val="black"/>
                </a:solidFill>
              </a:rPr>
              <a:t>: </a:t>
            </a:r>
            <a:r>
              <a:rPr lang="it-IT" sz="1200" i="0" u="none" strike="noStrike" kern="1200" baseline="0" noProof="0" dirty="0">
                <a:solidFill>
                  <a:schemeClr val="tx1"/>
                </a:solidFill>
                <a:effectLst/>
              </a:rPr>
              <a:t>per gli studenti  dei nuovi professionali saranno esposti anche le caratterizzazioni  del percorso sintetizzate </a:t>
            </a:r>
            <a:r>
              <a:rPr lang="it-IT" sz="1200" dirty="0">
                <a:solidFill>
                  <a:schemeClr val="tx1"/>
                </a:solidFill>
              </a:rPr>
              <a:t>n</a:t>
            </a:r>
            <a:r>
              <a:rPr lang="it-IT" sz="1200" i="0" u="none" strike="noStrike" kern="1200" baseline="0" noProof="0" dirty="0">
                <a:solidFill>
                  <a:schemeClr val="tx1"/>
                </a:solidFill>
                <a:effectLst/>
              </a:rPr>
              <a:t>elle codifiche ATECO, NUP e SEP. Saranno esposte anche le relative competenze</a:t>
            </a:r>
            <a:r>
              <a:rPr lang="it-IT" sz="1200" dirty="0">
                <a:solidFill>
                  <a:schemeClr val="tx1"/>
                </a:solidFill>
              </a:rPr>
              <a:t>.</a:t>
            </a:r>
            <a:r>
              <a:rPr lang="it-IT" sz="1200" i="0" u="none" strike="noStrike" kern="1200" baseline="0" noProof="0" dirty="0">
                <a:solidFill>
                  <a:schemeClr val="tx1"/>
                </a:solidFill>
                <a:effectLst/>
              </a:rPr>
              <a:t> Per questi indirizzi saranno resi disponibili anche i supplementi EUROPASS. </a:t>
            </a:r>
            <a:endParaRPr lang="it-IT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6568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3. Insediamento (6/6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222823" y="1154148"/>
            <a:ext cx="3191980" cy="133025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8 Priorità Gruppi Candidati: </a:t>
            </a:r>
            <a:r>
              <a:rPr lang="it-IT" sz="1200" dirty="0">
                <a:solidFill>
                  <a:prstClr val="black"/>
                </a:solidFill>
              </a:rPr>
              <a:t>Funzione che consente di </a:t>
            </a:r>
            <a:r>
              <a:rPr lang="it-IT" sz="1200" b="1" dirty="0">
                <a:solidFill>
                  <a:prstClr val="black"/>
                </a:solidFill>
              </a:rPr>
              <a:t>indicare la priorità ai vari gruppi di candidati </a:t>
            </a:r>
            <a:r>
              <a:rPr lang="it-IT" sz="1200" dirty="0">
                <a:solidFill>
                  <a:prstClr val="black"/>
                </a:solidFill>
              </a:rPr>
              <a:t>nelle classi articolate su più indirizzi e lingue straniere, al fine di personalizzare il calendario dei colloqui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222823" y="2655533"/>
            <a:ext cx="3152704" cy="106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9 Diario dei Colloqui: </a:t>
            </a:r>
            <a:r>
              <a:rPr lang="it-IT" sz="1200" dirty="0">
                <a:solidFill>
                  <a:prstClr val="black"/>
                </a:solidFill>
              </a:rPr>
              <a:t>Funzione che consente di </a:t>
            </a:r>
            <a:r>
              <a:rPr lang="it-IT" sz="1200" b="1" dirty="0">
                <a:solidFill>
                  <a:prstClr val="black"/>
                </a:solidFill>
              </a:rPr>
              <a:t>registrare il calendario dei colloqui </a:t>
            </a:r>
            <a:r>
              <a:rPr lang="it-IT" sz="1200" dirty="0">
                <a:solidFill>
                  <a:prstClr val="black"/>
                </a:solidFill>
              </a:rPr>
              <a:t>per tutti i candidati. E’ possibile organizzare i colloqui per gruppi omogenei di candidati che seguono lo stesso indirizzo di studio e/o gruppo di lingue strani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222823" y="3924679"/>
            <a:ext cx="3191980" cy="82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10 Stampa Albo Credito Candidati Esterni: </a:t>
            </a:r>
            <a:r>
              <a:rPr lang="it-IT" sz="1200" dirty="0">
                <a:solidFill>
                  <a:prstClr val="black"/>
                </a:solidFill>
              </a:rPr>
              <a:t>Funzione per </a:t>
            </a:r>
            <a:r>
              <a:rPr lang="it-IT" sz="1200" b="1" dirty="0">
                <a:solidFill>
                  <a:prstClr val="black"/>
                </a:solidFill>
              </a:rPr>
              <a:t>stampare l’elenco dei candidati esterni con l’indicazione</a:t>
            </a:r>
            <a:r>
              <a:rPr lang="it-IT" sz="1200" dirty="0">
                <a:solidFill>
                  <a:prstClr val="black"/>
                </a:solidFill>
              </a:rPr>
              <a:t> </a:t>
            </a:r>
            <a:r>
              <a:rPr lang="it-IT" sz="1200" b="1" dirty="0">
                <a:solidFill>
                  <a:prstClr val="black"/>
                </a:solidFill>
              </a:rPr>
              <a:t>del credito scolastico totale</a:t>
            </a:r>
            <a:endParaRPr lang="it-IT" sz="1200" dirty="0">
              <a:solidFill>
                <a:prstClr val="black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222823" y="5021600"/>
            <a:ext cx="3191980" cy="82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3.11 Gestione Inclusione con Riserva Candidati: </a:t>
            </a:r>
            <a:r>
              <a:rPr lang="it-IT" sz="1200" dirty="0">
                <a:solidFill>
                  <a:prstClr val="black"/>
                </a:solidFill>
              </a:rPr>
              <a:t>Funzione che consente l’inserimento, la modifica e la cancellazione della inclusione con riserva di un candidato</a:t>
            </a:r>
            <a:r>
              <a:rPr lang="it-IT" sz="1200" b="1" dirty="0">
                <a:solidFill>
                  <a:prstClr val="black"/>
                </a:solidFill>
              </a:rPr>
              <a:t> </a:t>
            </a:r>
          </a:p>
        </p:txBody>
      </p:sp>
      <p:pic>
        <p:nvPicPr>
          <p:cNvPr id="5" name="Picture 4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89A0314F-79DB-38A7-BCC2-372EB8C8F9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064" y="1107824"/>
            <a:ext cx="6182257" cy="2212316"/>
          </a:xfrm>
          <a:prstGeom prst="rect">
            <a:avLst/>
          </a:prstGeom>
          <a:effectLst>
            <a:outerShdw blurRad="50800" dist="50800" dir="5400000" algn="ctr" rotWithShape="0">
              <a:schemeClr val="accent1"/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F8D1D62-EA3A-F7E1-DDAE-2FED9BEC4E9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62916" y="1680732"/>
            <a:ext cx="432000" cy="43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7ABA1E6-BBDD-80B0-3BEE-EC4688E47CA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62916" y="2869945"/>
            <a:ext cx="432000" cy="432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5C421D1-B52A-63F7-218A-40F726CC741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79150" y="4090980"/>
            <a:ext cx="432000" cy="432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55911F3-CCA2-D991-0AC3-5B21711543B7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79150" y="5256710"/>
            <a:ext cx="432000" cy="432000"/>
          </a:xfrm>
          <a:prstGeom prst="rect">
            <a:avLst/>
          </a:prstGeom>
        </p:spPr>
      </p:pic>
      <p:pic>
        <p:nvPicPr>
          <p:cNvPr id="16" name="Picture 15" descr="A screenshot of a computer&#10;&#10;Description automatically generated">
            <a:extLst>
              <a:ext uri="{FF2B5EF4-FFF2-40B4-BE49-F238E27FC236}">
                <a16:creationId xmlns:a16="http://schemas.microsoft.com/office/drawing/2014/main" id="{7545EC23-83DA-4357-9483-C2D650856B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86817" y="3535909"/>
            <a:ext cx="6180661" cy="2639781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60000"/>
                <a:lumOff val="40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6831893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4. Menu Prove Scritte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024117" y="1094194"/>
            <a:ext cx="3308279" cy="4988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4.1 Prima Prova Scritta:</a:t>
            </a:r>
            <a:r>
              <a:rPr lang="it-IT" sz="1200" dirty="0">
                <a:solidFill>
                  <a:prstClr val="black"/>
                </a:solidFill>
              </a:rPr>
              <a:t> 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Registrazione Assenze Candidati 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b="1" i="1" dirty="0">
                <a:solidFill>
                  <a:srgbClr val="000000"/>
                </a:solidFill>
                <a:latin typeface="Arial" panose="020B0604020202020204" pitchFamily="34" charset="0"/>
              </a:rPr>
              <a:t>Registrazione tipologia prova per candidato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Gestione Esclusione Candidati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Foglio Firme Presenza 	</a:t>
            </a:r>
          </a:p>
          <a:p>
            <a:pPr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Verbali	</a:t>
            </a:r>
          </a:p>
          <a:p>
            <a:pPr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4.2 Seconda Prova Scritta:</a:t>
            </a:r>
            <a:r>
              <a:rPr lang="it-IT" sz="1200" dirty="0">
                <a:solidFill>
                  <a:prstClr val="black"/>
                </a:solidFill>
              </a:rPr>
              <a:t> 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Registrazione Assenze Candidati 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Gestione Esclusione Candidati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Foglio Firme Presenza 	</a:t>
            </a:r>
          </a:p>
          <a:p>
            <a:pPr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Verbali</a:t>
            </a:r>
          </a:p>
          <a:p>
            <a:pPr fontAlgn="base">
              <a:lnSpc>
                <a:spcPct val="115000"/>
              </a:lnSpc>
              <a:spcAft>
                <a:spcPts val="1000"/>
              </a:spcAft>
            </a:pPr>
            <a:r>
              <a:rPr lang="it-IT" sz="1200" b="1" dirty="0">
                <a:solidFill>
                  <a:schemeClr val="accent2"/>
                </a:solidFill>
              </a:rPr>
              <a:t>Novità</a:t>
            </a:r>
            <a:r>
              <a:rPr lang="it-IT" sz="1200" dirty="0">
                <a:solidFill>
                  <a:prstClr val="black"/>
                </a:solidFill>
              </a:rPr>
              <a:t>: </a:t>
            </a: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Per le sezioni ESABAC</a:t>
            </a:r>
            <a:r>
              <a:rPr lang="it-IT" sz="1200" b="1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e nei percorsi internazionali, sarà nuovamente gestibile anche la terza prova scritta con relative funzioni </a:t>
            </a:r>
          </a:p>
          <a:p>
            <a:pPr indent="-171450" fontAlgn="base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Registrazione Assenze Candidati</a:t>
            </a:r>
          </a:p>
          <a:p>
            <a:pPr indent="-171450" fontAlgn="base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Gestione Esclusione Candidati</a:t>
            </a:r>
          </a:p>
          <a:p>
            <a:pPr indent="-171450" fontAlgn="base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Foglio Firme Presenza</a:t>
            </a:r>
          </a:p>
          <a:p>
            <a:pPr indent="-171450" fontAlgn="base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000000"/>
                </a:solidFill>
                <a:latin typeface="Arial" panose="020B0604020202020204" pitchFamily="34" charset="0"/>
              </a:rPr>
              <a:t>Verbali</a:t>
            </a:r>
          </a:p>
          <a:p>
            <a:pPr fontAlgn="base">
              <a:lnSpc>
                <a:spcPct val="115000"/>
              </a:lnSpc>
              <a:spcAft>
                <a:spcPts val="1000"/>
              </a:spcAft>
            </a:pPr>
            <a:endParaRPr lang="it-IT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765507A-9E2E-163F-E157-C15A29882B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499" y="1277941"/>
            <a:ext cx="6675120" cy="3562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0C2D569-0C4E-A37A-5031-5665597F1EF0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75368" y="1647231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4817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4.1 Prima Prov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037540" y="1052748"/>
            <a:ext cx="4002059" cy="51845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400" b="1" dirty="0">
                <a:solidFill>
                  <a:prstClr val="black"/>
                </a:solidFill>
              </a:rPr>
              <a:t>4.1.1  Registrazione Tipologia 1 Prova: </a:t>
            </a:r>
            <a:r>
              <a:rPr lang="it-IT" sz="1400" dirty="0">
                <a:solidFill>
                  <a:prstClr val="black"/>
                </a:solidFill>
              </a:rPr>
              <a:t>Funzione che consente di rilevare la scelta dello studente rispetto alla tipologia della Prima Prova Scritta predisposta su base nazionale. Le tipologie presenti sono le seguenti: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A1 Analisi e interpretazione di un testo letterario - traccia 1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A2 Analisi e interpretazione di un testo letterario - traccia 2 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B1 Analisi e produzione di un testo argomentativo - traccia 1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B2 Analisi e produzione di un testo argomentativo - traccia 2 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B3 Analisi e produzione di un testo argomentativo - traccia 3 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C1 Riflessione critica di carattere espositivo-argomentativo su tematiche di attualità - traccia 1 </a:t>
            </a:r>
          </a:p>
          <a:p>
            <a:pPr lvl="0" algn="just">
              <a:spcAft>
                <a:spcPts val="600"/>
              </a:spcAft>
            </a:pPr>
            <a:r>
              <a:rPr lang="it-IT" sz="1400" dirty="0">
                <a:solidFill>
                  <a:srgbClr val="242424"/>
                </a:solidFill>
                <a:effectLst/>
                <a:ea typeface="Times New Roman" panose="02020603050405020304" pitchFamily="18" charset="0"/>
              </a:rPr>
              <a:t>C2 Riflessione critica di carattere espositivo-argomentativo su tematiche di attualità - traccia 2</a:t>
            </a:r>
            <a:endParaRPr lang="it-IT" sz="1400" dirty="0">
              <a:effectLst/>
              <a:ea typeface="Times New Roman" panose="020206030504050203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EF4B7AC-9199-3E8C-9AC4-E8BD130C4C0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38053" y="3278314"/>
            <a:ext cx="432000" cy="432000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3B100A8B-A26F-33E5-0A5A-934EAB3716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473" y="2021916"/>
            <a:ext cx="6887483" cy="2814168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37219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38305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5. Valutazione Prove scritt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9106293" y="2196446"/>
            <a:ext cx="2802679" cy="28156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5.1 Valutazione prove scritte  prima e seconda : </a:t>
            </a:r>
            <a:r>
              <a:rPr lang="it-IT" sz="1200" dirty="0">
                <a:solidFill>
                  <a:prstClr val="black"/>
                </a:solidFill>
              </a:rPr>
              <a:t>la funzione prevede per ogni candidato l’inserimento dei punteggi delle prove scritte. </a:t>
            </a:r>
          </a:p>
          <a:p>
            <a:pPr algn="just"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Come previsto dall’O.M. la valutazione finale resta in centesimi. Al credito scolastico viene attribuito fino a un massimo di </a:t>
            </a:r>
            <a:r>
              <a:rPr lang="it-IT" sz="1200" b="1" dirty="0">
                <a:solidFill>
                  <a:prstClr val="black"/>
                </a:solidFill>
              </a:rPr>
              <a:t>40 punti</a:t>
            </a:r>
            <a:r>
              <a:rPr lang="it-IT" sz="1200" dirty="0">
                <a:solidFill>
                  <a:prstClr val="black"/>
                </a:solidFill>
              </a:rPr>
              <a:t>. Per quanto riguarda le prove scritte, a quella di Italiano vengono attribuiti fino a </a:t>
            </a:r>
            <a:r>
              <a:rPr lang="it-IT" sz="1200" b="1" dirty="0">
                <a:solidFill>
                  <a:prstClr val="black"/>
                </a:solidFill>
              </a:rPr>
              <a:t>20 punti</a:t>
            </a:r>
            <a:r>
              <a:rPr lang="it-IT" sz="1200" dirty="0">
                <a:solidFill>
                  <a:prstClr val="black"/>
                </a:solidFill>
              </a:rPr>
              <a:t>, alla </a:t>
            </a:r>
            <a:r>
              <a:rPr lang="it-IT" sz="1200" b="1" dirty="0">
                <a:solidFill>
                  <a:prstClr val="black"/>
                </a:solidFill>
              </a:rPr>
              <a:t>seconda prova </a:t>
            </a:r>
            <a:r>
              <a:rPr lang="it-IT" sz="1200" dirty="0">
                <a:solidFill>
                  <a:prstClr val="black"/>
                </a:solidFill>
              </a:rPr>
              <a:t>fino a </a:t>
            </a:r>
            <a:r>
              <a:rPr lang="it-IT" sz="1200" b="1" dirty="0">
                <a:solidFill>
                  <a:prstClr val="black"/>
                </a:solidFill>
              </a:rPr>
              <a:t>20, al colloquio fino a 20</a:t>
            </a:r>
            <a:endParaRPr lang="it-IT" sz="1200" dirty="0">
              <a:solidFill>
                <a:prstClr val="black"/>
              </a:solidFill>
            </a:endParaRPr>
          </a:p>
          <a:p>
            <a:pPr lvl="0">
              <a:spcAft>
                <a:spcPts val="600"/>
              </a:spcAft>
            </a:pPr>
            <a:endParaRPr lang="it-IT" sz="1200" b="1" dirty="0">
              <a:solidFill>
                <a:prstClr val="black"/>
              </a:solidFill>
            </a:endParaRPr>
          </a:p>
        </p:txBody>
      </p:sp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19C2FF67-79B2-B1E2-116D-AB3DD2386D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333" y="1942403"/>
            <a:ext cx="8078548" cy="3323773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827F248-1CDB-29E1-F667-359C80F3E4D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66087" y="3388289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575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6. Verbali (1/2)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160107" y="1050444"/>
            <a:ext cx="3542035" cy="25744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6.1 Stampa verbali: </a:t>
            </a:r>
            <a:r>
              <a:rPr lang="it-IT" sz="1200" dirty="0">
                <a:solidFill>
                  <a:prstClr val="black"/>
                </a:solidFill>
              </a:rPr>
              <a:t>la funzione consente di </a:t>
            </a:r>
            <a:r>
              <a:rPr lang="it-IT" sz="1200" b="1" dirty="0">
                <a:solidFill>
                  <a:prstClr val="black"/>
                </a:solidFill>
              </a:rPr>
              <a:t>selezionare e stampare tutti i verbali previsti dall’O.M.</a:t>
            </a:r>
            <a:r>
              <a:rPr lang="it-IT" sz="1200" dirty="0">
                <a:solidFill>
                  <a:prstClr val="black"/>
                </a:solidFill>
              </a:rPr>
              <a:t>. I verbali sono in parte precompilati con i dati già registrati dalla commissione sul sistema ed in parte con testi digitabili sul verbale.</a:t>
            </a:r>
          </a:p>
          <a:p>
            <a:pPr algn="just"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I verbali sono stati </a:t>
            </a:r>
            <a:r>
              <a:rPr lang="it-IT" sz="1200" b="1" dirty="0">
                <a:solidFill>
                  <a:prstClr val="black"/>
                </a:solidFill>
              </a:rPr>
              <a:t>aggiornati</a:t>
            </a:r>
            <a:r>
              <a:rPr lang="it-IT" sz="1200" dirty="0">
                <a:solidFill>
                  <a:prstClr val="black"/>
                </a:solidFill>
              </a:rPr>
              <a:t> in base alle attività delle commissioni per gli esami 2023 sia per riorganizzazione della nomenclatura sia con nuovi verbali  a supporto delle attività delle commissioni  ed in particolare per i nuovi percorsi professionali</a:t>
            </a:r>
            <a:endParaRPr lang="it-IT" sz="1200" dirty="0">
              <a:solidFill>
                <a:srgbClr val="FF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160108" y="4082144"/>
            <a:ext cx="3542034" cy="21662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6.2 Scelta operativa compilazione dei verbali: </a:t>
            </a:r>
            <a:r>
              <a:rPr lang="it-IT" sz="1200" dirty="0">
                <a:solidFill>
                  <a:prstClr val="black"/>
                </a:solidFill>
              </a:rPr>
              <a:t>la funzione permette alla commissione di </a:t>
            </a:r>
            <a:r>
              <a:rPr lang="it-IT" sz="1200" b="1" dirty="0">
                <a:solidFill>
                  <a:prstClr val="black"/>
                </a:solidFill>
              </a:rPr>
              <a:t>dichiarare la modalità di compilazione dei verbali</a:t>
            </a:r>
            <a:r>
              <a:rPr lang="it-IT" sz="1200" dirty="0">
                <a:solidFill>
                  <a:prstClr val="black"/>
                </a:solidFill>
              </a:rPr>
              <a:t>, scegliendo la </a:t>
            </a:r>
            <a:r>
              <a:rPr lang="it-IT" sz="1200" b="1" dirty="0">
                <a:solidFill>
                  <a:prstClr val="black"/>
                </a:solidFill>
              </a:rPr>
              <a:t>Gestione locale </a:t>
            </a:r>
            <a:r>
              <a:rPr lang="it-IT" sz="1200" dirty="0">
                <a:solidFill>
                  <a:prstClr val="black"/>
                </a:solidFill>
              </a:rPr>
              <a:t>o la </a:t>
            </a:r>
            <a:r>
              <a:rPr lang="it-IT" sz="1200" b="1" dirty="0">
                <a:solidFill>
                  <a:prstClr val="black"/>
                </a:solidFill>
              </a:rPr>
              <a:t>Gestione integrata con FEA</a:t>
            </a:r>
            <a:r>
              <a:rPr lang="it-IT" sz="1200" dirty="0">
                <a:solidFill>
                  <a:prstClr val="black"/>
                </a:solidFill>
              </a:rPr>
              <a:t>. La </a:t>
            </a:r>
            <a:r>
              <a:rPr lang="it-IT" sz="1200" b="1" dirty="0">
                <a:solidFill>
                  <a:prstClr val="black"/>
                </a:solidFill>
              </a:rPr>
              <a:t>modalità locale </a:t>
            </a:r>
            <a:r>
              <a:rPr lang="it-IT" sz="1200" dirty="0">
                <a:solidFill>
                  <a:prstClr val="black"/>
                </a:solidFill>
              </a:rPr>
              <a:t>permette di continuare a gestire i verbali nella modalità in essere negli anni precedenti. La </a:t>
            </a:r>
            <a:r>
              <a:rPr lang="it-IT" sz="1200" b="1" dirty="0">
                <a:solidFill>
                  <a:prstClr val="black"/>
                </a:solidFill>
              </a:rPr>
              <a:t>modalità integrata </a:t>
            </a:r>
            <a:r>
              <a:rPr lang="it-IT" sz="1200" dirty="0">
                <a:solidFill>
                  <a:prstClr val="black"/>
                </a:solidFill>
              </a:rPr>
              <a:t>permette di gestire in verbali attraverso un editor integrato nell’applicazione e di firmarli con l’utilizzo della </a:t>
            </a:r>
            <a:r>
              <a:rPr lang="it-IT" sz="1200" b="1" dirty="0">
                <a:solidFill>
                  <a:prstClr val="black"/>
                </a:solidFill>
              </a:rPr>
              <a:t>Firma Elettronica Avanzata.</a:t>
            </a:r>
            <a:endParaRPr lang="it-IT" sz="1200" dirty="0">
              <a:solidFill>
                <a:prstClr val="black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D8A8C87-FBCA-6A7C-1AB2-BC13EFC58F4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38845" y="2132274"/>
            <a:ext cx="432000" cy="432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329AF1B-C33E-B955-6AF7-4D130C3353E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38845" y="4757225"/>
            <a:ext cx="432000" cy="432000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D383A03C-7F7B-217A-571C-8B39D38FB2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206" y="2242457"/>
            <a:ext cx="7125376" cy="2730768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93366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Riepilogo dati Esame di Stato 2023 - Commissioni, classi e candidati 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FF20541D-2267-4ABE-97CD-90EBFA18E8CE}"/>
              </a:ext>
            </a:extLst>
          </p:cNvPr>
          <p:cNvSpPr txBox="1"/>
          <p:nvPr/>
        </p:nvSpPr>
        <p:spPr>
          <a:xfrm>
            <a:off x="607094" y="1187307"/>
            <a:ext cx="94013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dirty="0"/>
              <a:t>							</a:t>
            </a:r>
          </a:p>
          <a:p>
            <a:r>
              <a:rPr lang="it-IT" dirty="0"/>
              <a:t>						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27D570FB-158C-5208-223D-77B3F19C6CEA}"/>
              </a:ext>
            </a:extLst>
          </p:cNvPr>
          <p:cNvSpPr txBox="1"/>
          <p:nvPr/>
        </p:nvSpPr>
        <p:spPr>
          <a:xfrm>
            <a:off x="609918" y="5632986"/>
            <a:ext cx="6094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/>
              <a:t>Fonte dati: SIDI - Configurazioni delle commissioni 	</a:t>
            </a:r>
          </a:p>
          <a:p>
            <a:r>
              <a:rPr lang="it-IT" sz="1400" b="1" dirty="0"/>
              <a:t>Dati estratti al 23 maggio 2023</a:t>
            </a:r>
          </a:p>
        </p:txBody>
      </p:sp>
      <p:graphicFrame>
        <p:nvGraphicFramePr>
          <p:cNvPr id="19" name="Tabella 18">
            <a:extLst>
              <a:ext uri="{FF2B5EF4-FFF2-40B4-BE49-F238E27FC236}">
                <a16:creationId xmlns:a16="http://schemas.microsoft.com/office/drawing/2014/main" id="{462A95AB-8EF8-7777-BD02-B730F0A801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6726269"/>
              </p:ext>
            </p:extLst>
          </p:nvPr>
        </p:nvGraphicFramePr>
        <p:xfrm>
          <a:off x="2024614" y="3429000"/>
          <a:ext cx="7701698" cy="1341686"/>
        </p:xfrm>
        <a:graphic>
          <a:graphicData uri="http://schemas.openxmlformats.org/drawingml/2006/table">
            <a:tbl>
              <a:tblPr firstRow="1" firstCol="1" bandRow="1"/>
              <a:tblGrid>
                <a:gridCol w="938351">
                  <a:extLst>
                    <a:ext uri="{9D8B030D-6E8A-4147-A177-3AD203B41FA5}">
                      <a16:colId xmlns:a16="http://schemas.microsoft.com/office/drawing/2014/main" val="1595658264"/>
                    </a:ext>
                  </a:extLst>
                </a:gridCol>
                <a:gridCol w="1371437">
                  <a:extLst>
                    <a:ext uri="{9D8B030D-6E8A-4147-A177-3AD203B41FA5}">
                      <a16:colId xmlns:a16="http://schemas.microsoft.com/office/drawing/2014/main" val="1487973382"/>
                    </a:ext>
                  </a:extLst>
                </a:gridCol>
                <a:gridCol w="1533844">
                  <a:extLst>
                    <a:ext uri="{9D8B030D-6E8A-4147-A177-3AD203B41FA5}">
                      <a16:colId xmlns:a16="http://schemas.microsoft.com/office/drawing/2014/main" val="1885306941"/>
                    </a:ext>
                  </a:extLst>
                </a:gridCol>
                <a:gridCol w="1154893">
                  <a:extLst>
                    <a:ext uri="{9D8B030D-6E8A-4147-A177-3AD203B41FA5}">
                      <a16:colId xmlns:a16="http://schemas.microsoft.com/office/drawing/2014/main" val="2886265671"/>
                    </a:ext>
                  </a:extLst>
                </a:gridCol>
                <a:gridCol w="1371437">
                  <a:extLst>
                    <a:ext uri="{9D8B030D-6E8A-4147-A177-3AD203B41FA5}">
                      <a16:colId xmlns:a16="http://schemas.microsoft.com/office/drawing/2014/main" val="1038885433"/>
                    </a:ext>
                  </a:extLst>
                </a:gridCol>
                <a:gridCol w="1331736">
                  <a:extLst>
                    <a:ext uri="{9D8B030D-6E8A-4147-A177-3AD203B41FA5}">
                      <a16:colId xmlns:a16="http://schemas.microsoft.com/office/drawing/2014/main" val="407776230"/>
                    </a:ext>
                  </a:extLst>
                </a:gridCol>
              </a:tblGrid>
              <a:tr h="271575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UOLE STATAL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UOLE PARITARIE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0349070"/>
                  </a:ext>
                </a:extLst>
              </a:tr>
              <a:tr h="798266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Numero class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Numero candidati intern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Numero candidati estern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Numero class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Numero candidati intern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Numero candidati estern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0113576"/>
                  </a:ext>
                </a:extLst>
              </a:tr>
              <a:tr h="27184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.56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9.281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.557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33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1.734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436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494902"/>
                  </a:ext>
                </a:extLst>
              </a:tr>
            </a:tbl>
          </a:graphicData>
        </a:graphic>
      </p:graphicFrame>
      <p:graphicFrame>
        <p:nvGraphicFramePr>
          <p:cNvPr id="20" name="Tabella 19">
            <a:extLst>
              <a:ext uri="{FF2B5EF4-FFF2-40B4-BE49-F238E27FC236}">
                <a16:creationId xmlns:a16="http://schemas.microsoft.com/office/drawing/2014/main" id="{0781E2F8-D1EB-157E-D4E8-F4E1258643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894110"/>
              </p:ext>
            </p:extLst>
          </p:nvPr>
        </p:nvGraphicFramePr>
        <p:xfrm>
          <a:off x="2024614" y="1870351"/>
          <a:ext cx="7701697" cy="990600"/>
        </p:xfrm>
        <a:graphic>
          <a:graphicData uri="http://schemas.openxmlformats.org/drawingml/2006/table">
            <a:tbl>
              <a:tblPr firstRow="1" firstCol="1" bandRow="1"/>
              <a:tblGrid>
                <a:gridCol w="1134527">
                  <a:extLst>
                    <a:ext uri="{9D8B030D-6E8A-4147-A177-3AD203B41FA5}">
                      <a16:colId xmlns:a16="http://schemas.microsoft.com/office/drawing/2014/main" val="3203502547"/>
                    </a:ext>
                  </a:extLst>
                </a:gridCol>
                <a:gridCol w="1658156">
                  <a:extLst>
                    <a:ext uri="{9D8B030D-6E8A-4147-A177-3AD203B41FA5}">
                      <a16:colId xmlns:a16="http://schemas.microsoft.com/office/drawing/2014/main" val="4064159148"/>
                    </a:ext>
                  </a:extLst>
                </a:gridCol>
                <a:gridCol w="1854516">
                  <a:extLst>
                    <a:ext uri="{9D8B030D-6E8A-4147-A177-3AD203B41FA5}">
                      <a16:colId xmlns:a16="http://schemas.microsoft.com/office/drawing/2014/main" val="2015489581"/>
                    </a:ext>
                  </a:extLst>
                </a:gridCol>
                <a:gridCol w="1536785">
                  <a:extLst>
                    <a:ext uri="{9D8B030D-6E8A-4147-A177-3AD203B41FA5}">
                      <a16:colId xmlns:a16="http://schemas.microsoft.com/office/drawing/2014/main" val="466495332"/>
                    </a:ext>
                  </a:extLst>
                </a:gridCol>
                <a:gridCol w="1517713">
                  <a:extLst>
                    <a:ext uri="{9D8B030D-6E8A-4147-A177-3AD203B41FA5}">
                      <a16:colId xmlns:a16="http://schemas.microsoft.com/office/drawing/2014/main" val="1093231782"/>
                    </a:ext>
                  </a:extLst>
                </a:gridCol>
              </a:tblGrid>
              <a:tr h="100886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ero commissioni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ero classi total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ero candidati interni total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ero candidati esterni total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ero candidati totali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2794499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00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.89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21.015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.993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6.00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04544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24227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6. Verbali (2/2)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365388" y="1671094"/>
            <a:ext cx="3423840" cy="1298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b="1" dirty="0">
                <a:solidFill>
                  <a:prstClr val="black"/>
                </a:solidFill>
              </a:rPr>
              <a:t>6.3 Firma del verbale con Firma Elettronica Avanzata (FEA): </a:t>
            </a:r>
            <a:r>
              <a:rPr lang="it-IT" sz="1400" dirty="0">
                <a:solidFill>
                  <a:prstClr val="black"/>
                </a:solidFill>
              </a:rPr>
              <a:t>la funzionalità che permette di </a:t>
            </a:r>
            <a:r>
              <a:rPr lang="it-IT" sz="1400" b="1" dirty="0">
                <a:solidFill>
                  <a:prstClr val="black"/>
                </a:solidFill>
              </a:rPr>
              <a:t>inoltrare i verbali </a:t>
            </a:r>
            <a:r>
              <a:rPr lang="it-IT" sz="1400" dirty="0">
                <a:solidFill>
                  <a:prstClr val="black"/>
                </a:solidFill>
              </a:rPr>
              <a:t>(se “In lavorazione”) </a:t>
            </a:r>
            <a:r>
              <a:rPr lang="it-IT" sz="1400" b="1" dirty="0">
                <a:solidFill>
                  <a:prstClr val="black"/>
                </a:solidFill>
              </a:rPr>
              <a:t>all’applicazione di gestione della FEA </a:t>
            </a:r>
            <a:r>
              <a:rPr lang="it-IT" sz="1400" dirty="0">
                <a:solidFill>
                  <a:prstClr val="black"/>
                </a:solidFill>
              </a:rPr>
              <a:t>attraverso dei servizi predisposti.</a:t>
            </a:r>
            <a:endParaRPr lang="it-IT" sz="1400" b="1" dirty="0">
              <a:solidFill>
                <a:prstClr val="black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365388" y="4025474"/>
            <a:ext cx="3423839" cy="129850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b="1" dirty="0">
                <a:solidFill>
                  <a:prstClr val="black"/>
                </a:solidFill>
              </a:rPr>
              <a:t>6.4 Verifica stato firma: </a:t>
            </a:r>
            <a:r>
              <a:rPr lang="it-IT" sz="1400" dirty="0">
                <a:solidFill>
                  <a:prstClr val="black"/>
                </a:solidFill>
              </a:rPr>
              <a:t>la funzionalità per la verifica sincrona dei verbali in stato “In firma”. Sarà previsto, inoltre, un processo asincrono che verificherà, per ogni verbale in stato “In firma”, la </a:t>
            </a:r>
            <a:r>
              <a:rPr lang="it-IT" sz="1400" b="1" dirty="0">
                <a:solidFill>
                  <a:prstClr val="black"/>
                </a:solidFill>
              </a:rPr>
              <a:t>disponibilità della versione firmata.</a:t>
            </a:r>
            <a:endParaRPr lang="it-IT" sz="1400" dirty="0">
              <a:solidFill>
                <a:prstClr val="black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61058" y="2320347"/>
            <a:ext cx="432000" cy="4320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91210" y="4440726"/>
            <a:ext cx="468000" cy="46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E128781-617D-A79A-C0A2-B88C8D5B8C7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912" y="2183274"/>
            <a:ext cx="6675120" cy="282118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71833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7. Colloqui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923829" y="1458000"/>
            <a:ext cx="3060570" cy="154075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7.1 Preparazione colloqui: </a:t>
            </a:r>
            <a:r>
              <a:rPr lang="it-IT" sz="1200" dirty="0">
                <a:solidFill>
                  <a:prstClr val="black"/>
                </a:solidFill>
              </a:rPr>
              <a:t>Nell’area </a:t>
            </a:r>
            <a:r>
              <a:rPr lang="it-IT" sz="1200" b="1" dirty="0">
                <a:solidFill>
                  <a:prstClr val="black"/>
                </a:solidFill>
              </a:rPr>
              <a:t>Preparazione Colloqui </a:t>
            </a:r>
            <a:r>
              <a:rPr lang="it-IT" sz="1200" dirty="0">
                <a:solidFill>
                  <a:prstClr val="black"/>
                </a:solidFill>
              </a:rPr>
              <a:t>sono disponibili i verbali di riferimento per la giornata, propedeutici alla valutazione della prova orale. </a:t>
            </a:r>
          </a:p>
          <a:p>
            <a:pPr lvl="0" algn="just"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Alla voce </a:t>
            </a:r>
            <a:r>
              <a:rPr lang="it-IT" sz="1200" b="1" dirty="0">
                <a:solidFill>
                  <a:prstClr val="black"/>
                </a:solidFill>
              </a:rPr>
              <a:t>Valutazione </a:t>
            </a:r>
            <a:r>
              <a:rPr lang="it-IT" sz="1200" b="1" dirty="0">
                <a:solidFill>
                  <a:schemeClr val="tx1"/>
                </a:solidFill>
              </a:rPr>
              <a:t>Colloqui </a:t>
            </a:r>
            <a:r>
              <a:rPr lang="it-IT" sz="1200" dirty="0">
                <a:solidFill>
                  <a:schemeClr val="tx1"/>
                </a:solidFill>
              </a:rPr>
              <a:t>è possibile inserire il </a:t>
            </a:r>
            <a:r>
              <a:rPr lang="it-IT" sz="1200" b="1" dirty="0">
                <a:solidFill>
                  <a:schemeClr val="tx1"/>
                </a:solidFill>
              </a:rPr>
              <a:t>punteggio assegnato al candidato</a:t>
            </a:r>
            <a:endParaRPr lang="it-IT" sz="12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923829" y="3509749"/>
            <a:ext cx="3060570" cy="10273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7.2 Griglia di valutazione: la funzione </a:t>
            </a:r>
            <a:r>
              <a:rPr lang="it-IT" sz="1200" dirty="0">
                <a:solidFill>
                  <a:prstClr val="black"/>
                </a:solidFill>
              </a:rPr>
              <a:t>permette di </a:t>
            </a:r>
            <a:r>
              <a:rPr lang="it-IT" sz="1200" b="1" dirty="0">
                <a:solidFill>
                  <a:prstClr val="black"/>
                </a:solidFill>
              </a:rPr>
              <a:t>eseguire il download della griglia in formato </a:t>
            </a:r>
            <a:r>
              <a:rPr lang="it-IT" sz="1200" b="1" dirty="0" err="1">
                <a:solidFill>
                  <a:prstClr val="black"/>
                </a:solidFill>
              </a:rPr>
              <a:t>excel</a:t>
            </a:r>
            <a:endParaRPr lang="it-IT" sz="1200" b="1" dirty="0">
              <a:solidFill>
                <a:prstClr val="black"/>
              </a:solidFill>
            </a:endParaRPr>
          </a:p>
          <a:p>
            <a:pPr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aggiornata la griglia in base all’ordinanza</a:t>
            </a:r>
          </a:p>
          <a:p>
            <a:pPr lvl="0">
              <a:spcAft>
                <a:spcPts val="600"/>
              </a:spcAft>
            </a:pPr>
            <a:endParaRPr lang="it-IT" sz="1200" b="1" dirty="0">
              <a:solidFill>
                <a:prstClr val="black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923829" y="4903594"/>
            <a:ext cx="3060570" cy="16496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7.3 Prove Suppletive e Straordinarie: </a:t>
            </a:r>
            <a:r>
              <a:rPr lang="it-IT" sz="1200" dirty="0">
                <a:solidFill>
                  <a:prstClr val="black"/>
                </a:solidFill>
              </a:rPr>
              <a:t>l’applicazione prevede la Registrazione Assenze dei Candidati, la Gestione Esclusione Candidati la stampa del foglio firme presenza. Alla voce Verbali è presente la </a:t>
            </a:r>
            <a:r>
              <a:rPr lang="it-IT" sz="1200" b="1" dirty="0">
                <a:solidFill>
                  <a:prstClr val="black"/>
                </a:solidFill>
              </a:rPr>
              <a:t>documentazione necessaria</a:t>
            </a:r>
            <a:r>
              <a:rPr lang="it-IT" sz="1200" dirty="0">
                <a:solidFill>
                  <a:prstClr val="black"/>
                </a:solidFill>
              </a:rPr>
              <a:t>, a supporto della commissione </a:t>
            </a:r>
            <a:r>
              <a:rPr lang="it-IT" sz="1200" b="1" dirty="0">
                <a:solidFill>
                  <a:prstClr val="black"/>
                </a:solidFill>
              </a:rPr>
              <a:t>per lo svolgimento delle prove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20B4A964-859F-55C8-9269-9B64905814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601" y="2140888"/>
            <a:ext cx="8005237" cy="362065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9CBCE2A-8B9B-04FC-BF85-EF188548B248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28971" y="2196128"/>
            <a:ext cx="432000" cy="432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2243BD5-3B94-A760-D5C5-323672A7AA5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70063" y="3940298"/>
            <a:ext cx="432000" cy="432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0130BC4-F268-50ED-93B7-69657FAC736E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48297" y="5545544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5289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8. Stampe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9549353" y="2781113"/>
            <a:ext cx="2496616" cy="15193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8.1 Registro dei Risultati degli Esami: n</a:t>
            </a:r>
            <a:r>
              <a:rPr lang="it-IT" sz="1200" dirty="0">
                <a:solidFill>
                  <a:prstClr val="black"/>
                </a:solidFill>
              </a:rPr>
              <a:t>ell’Area “Stampe” è possibile effettuare </a:t>
            </a:r>
            <a:r>
              <a:rPr lang="it-IT" sz="1200" b="1" dirty="0">
                <a:solidFill>
                  <a:prstClr val="black"/>
                </a:solidFill>
              </a:rPr>
              <a:t>tutte le stampe a supporto delle varie fasi di lavor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9BC9C2D-78AF-FEE2-97F0-C641C5B0F169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51567" y="3429000"/>
            <a:ext cx="432000" cy="432000"/>
          </a:xfrm>
          <a:prstGeom prst="rect">
            <a:avLst/>
          </a:prstGeom>
        </p:spPr>
      </p:pic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9040BCCB-61BC-FA2F-CD33-400A79AFFE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054" y="1602557"/>
            <a:ext cx="8382727" cy="3876438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3155402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9. Adempimenti Finali 1 di 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9587059" y="2837482"/>
            <a:ext cx="2242987" cy="16428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9.1 Valutazione Finale Candidato: </a:t>
            </a:r>
            <a:r>
              <a:rPr lang="it-IT" sz="1200" dirty="0">
                <a:solidFill>
                  <a:prstClr val="black"/>
                </a:solidFill>
              </a:rPr>
              <a:t>In Adempimenti Finali, la funzione Valutazione Finale Candidato consente la </a:t>
            </a:r>
            <a:r>
              <a:rPr lang="it-IT" sz="1200" b="1" dirty="0">
                <a:solidFill>
                  <a:prstClr val="black"/>
                </a:solidFill>
              </a:rPr>
              <a:t>registrazione della votazione finale di ciascun candidato</a:t>
            </a:r>
          </a:p>
        </p:txBody>
      </p:sp>
      <p:pic>
        <p:nvPicPr>
          <p:cNvPr id="4" name="Picture 3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1495E7BD-E613-6A9F-7985-78CFD951B4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03" y="1449649"/>
            <a:ext cx="8634516" cy="3958701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9507BE8-FE26-F697-A875-CE03F3CBAD4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41264" y="3442910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9887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5790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9. Adempimenti Finali 2 di 2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9753598" y="2167971"/>
            <a:ext cx="2067021" cy="20900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9.2 Valutazione Finale Candidato: </a:t>
            </a:r>
            <a:r>
              <a:rPr lang="it-IT" sz="1200" dirty="0">
                <a:solidFill>
                  <a:prstClr val="black"/>
                </a:solidFill>
              </a:rPr>
              <a:t>il punteggio finale </a:t>
            </a:r>
            <a:r>
              <a:rPr lang="it-IT" sz="1200" b="1" dirty="0">
                <a:solidFill>
                  <a:prstClr val="black"/>
                </a:solidFill>
              </a:rPr>
              <a:t>risulta dalla somma </a:t>
            </a:r>
            <a:r>
              <a:rPr lang="it-IT" sz="1200" dirty="0">
                <a:solidFill>
                  <a:prstClr val="black"/>
                </a:solidFill>
              </a:rPr>
              <a:t>del credito scolastico dai  punteggi delle prove svolte e eventuale punteggio integrativo.  </a:t>
            </a:r>
            <a:endParaRPr lang="it-IT" sz="1200" b="1" dirty="0">
              <a:solidFill>
                <a:prstClr val="black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9507BE8-FE26-F697-A875-CE03F3CBAD4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116719" y="2997000"/>
            <a:ext cx="432000" cy="432000"/>
          </a:xfrm>
          <a:prstGeom prst="rect">
            <a:avLst/>
          </a:prstGeom>
        </p:spPr>
      </p:pic>
      <p:pic>
        <p:nvPicPr>
          <p:cNvPr id="6" name="Picture 5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7DCB8082-9A33-835E-C3DD-2DA2ED6723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5790" y="1477911"/>
            <a:ext cx="8306050" cy="3725685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1765088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433633" y="116701"/>
            <a:ext cx="11005876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10. Relazione presidente della commissione - consultabile dai Dirigenti Tecnici degli USR (1/2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767686" y="1234913"/>
            <a:ext cx="4279770" cy="52413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endParaRPr lang="it-IT" sz="1100" b="1" dirty="0">
              <a:solidFill>
                <a:prstClr val="black"/>
              </a:solidFill>
            </a:endParaRPr>
          </a:p>
          <a:p>
            <a:pPr>
              <a:spcAft>
                <a:spcPts val="600"/>
              </a:spcAft>
            </a:pPr>
            <a:endParaRPr lang="it-IT" sz="1100" b="1" dirty="0">
              <a:solidFill>
                <a:prstClr val="black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it-IT" sz="1100" b="1" dirty="0">
                <a:solidFill>
                  <a:prstClr val="black"/>
                </a:solidFill>
              </a:rPr>
              <a:t>10.1 Relazione presidente della commissione </a:t>
            </a:r>
          </a:p>
          <a:p>
            <a:pPr algn="just">
              <a:spcAft>
                <a:spcPts val="600"/>
              </a:spcAft>
            </a:pPr>
            <a:r>
              <a:rPr lang="it-IT" sz="1100" dirty="0">
                <a:solidFill>
                  <a:prstClr val="black"/>
                </a:solidFill>
              </a:rPr>
              <a:t>I presidenti di commissione hanno a </a:t>
            </a:r>
            <a:r>
              <a:rPr lang="it-IT" sz="1100" dirty="0">
                <a:solidFill>
                  <a:schemeClr val="tx1"/>
                </a:solidFill>
              </a:rPr>
              <a:t>disposizione </a:t>
            </a:r>
            <a:r>
              <a:rPr lang="it-IT" sz="1100" b="1" dirty="0">
                <a:solidFill>
                  <a:schemeClr val="tx1"/>
                </a:solidFill>
              </a:rPr>
              <a:t>una </a:t>
            </a:r>
            <a:r>
              <a:rPr lang="it-IT" sz="1100" b="1" i="0" u="none" strike="noStrike" kern="1200" baseline="0" noProof="0" dirty="0">
                <a:solidFill>
                  <a:schemeClr val="tx1"/>
                </a:solidFill>
                <a:effectLst/>
              </a:rPr>
              <a:t>nuova  versione della </a:t>
            </a:r>
            <a:r>
              <a:rPr lang="it-IT" sz="1100" b="1" dirty="0">
                <a:solidFill>
                  <a:prstClr val="black"/>
                </a:solidFill>
              </a:rPr>
              <a:t>relazione </a:t>
            </a:r>
            <a:r>
              <a:rPr lang="it-IT" sz="1100" dirty="0">
                <a:solidFill>
                  <a:prstClr val="black"/>
                </a:solidFill>
              </a:rPr>
              <a:t>consultabile dai </a:t>
            </a:r>
            <a:r>
              <a:rPr lang="it-IT" sz="1100" b="1" dirty="0">
                <a:solidFill>
                  <a:prstClr val="black"/>
                </a:solidFill>
              </a:rPr>
              <a:t>Dirigenti Tecnici </a:t>
            </a:r>
            <a:r>
              <a:rPr lang="it-IT" sz="1100" dirty="0">
                <a:solidFill>
                  <a:prstClr val="black"/>
                </a:solidFill>
              </a:rPr>
              <a:t>degli USR per consentire analisi quali-quantitative sugli esiti degli esami.</a:t>
            </a:r>
          </a:p>
          <a:p>
            <a:pPr algn="just">
              <a:spcAft>
                <a:spcPts val="600"/>
              </a:spcAft>
            </a:pPr>
            <a:r>
              <a:rPr lang="it-IT" sz="1100" dirty="0">
                <a:solidFill>
                  <a:prstClr val="black"/>
                </a:solidFill>
              </a:rPr>
              <a:t>La funzione (</a:t>
            </a:r>
            <a:r>
              <a:rPr lang="it-IT" sz="1100" b="1" dirty="0">
                <a:solidFill>
                  <a:prstClr val="black"/>
                </a:solidFill>
              </a:rPr>
              <a:t>disponibile nella sezione del menu “Adempimenti finali”</a:t>
            </a:r>
            <a:r>
              <a:rPr lang="it-IT" sz="1100" dirty="0">
                <a:solidFill>
                  <a:prstClr val="black"/>
                </a:solidFill>
              </a:rPr>
              <a:t>) consente la registrazione delle informazioni, la produzione e la stampa di una copia della relazione.</a:t>
            </a:r>
            <a:endParaRPr lang="it-IT" sz="1100" dirty="0">
              <a:solidFill>
                <a:schemeClr val="tx1"/>
              </a:solidFill>
            </a:endParaRPr>
          </a:p>
          <a:p>
            <a:pPr algn="just">
              <a:spcAft>
                <a:spcPts val="1000"/>
              </a:spcAft>
            </a:pPr>
            <a:r>
              <a:rPr lang="it-IT" sz="1100" dirty="0">
                <a:solidFill>
                  <a:schemeClr val="tx1"/>
                </a:solidFill>
              </a:rPr>
              <a:t>La relazione si compone di</a:t>
            </a:r>
            <a:r>
              <a:rPr lang="it-IT" sz="1100" b="1" dirty="0">
                <a:solidFill>
                  <a:schemeClr val="tx1"/>
                </a:solidFill>
              </a:rPr>
              <a:t>:</a:t>
            </a:r>
          </a:p>
          <a:p>
            <a:pPr algn="just">
              <a:spcAft>
                <a:spcPts val="1000"/>
              </a:spcAft>
            </a:pP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TE A - DATI COMMISSIONE</a:t>
            </a:r>
          </a:p>
          <a:p>
            <a:pPr algn="just">
              <a:spcAft>
                <a:spcPts val="1000"/>
              </a:spcAft>
            </a:pP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TE B - DATI CANDIDATI</a:t>
            </a:r>
          </a:p>
          <a:p>
            <a:pPr algn="just">
              <a:spcAft>
                <a:spcPts val="1000"/>
              </a:spcAft>
            </a:pP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ARTE C - Dati relativi alla classe/sottocommissione</a:t>
            </a:r>
          </a:p>
          <a:p>
            <a:pPr marL="342900" lvl="0" indent="-342900" algn="just">
              <a:buFont typeface="+mj-lt"/>
              <a:buAutoNum type="alphaLcParenR"/>
            </a:pP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formazioni presenti nel documento del Consiglio di Classe</a:t>
            </a:r>
          </a:p>
          <a:p>
            <a:pPr marL="342900" lvl="0" indent="-342900" algn="just">
              <a:buFont typeface="+mj-lt"/>
              <a:buAutoNum type="alphaLcParenR"/>
            </a:pP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volgimento delle programmazioni e livelli di apprendimento</a:t>
            </a:r>
          </a:p>
          <a:p>
            <a:pPr marL="342900" lvl="0" indent="-342900" algn="just">
              <a:buFont typeface="+mj-lt"/>
              <a:buAutoNum type="alphaLcParenR"/>
            </a:pPr>
            <a:r>
              <a:rPr lang="it-IT" sz="1100" dirty="0">
                <a:solidFill>
                  <a:schemeClr val="tx1"/>
                </a:solidFill>
                <a:cs typeface="Times New Roman" panose="02020603050405020304" pitchFamily="18" charset="0"/>
              </a:rPr>
              <a:t>Dati relativi ai candidati con disabilità, DSA o BES</a:t>
            </a:r>
          </a:p>
          <a:p>
            <a:pPr marL="342900" lvl="0" indent="-342900" algn="just">
              <a:buFont typeface="+mj-lt"/>
              <a:buAutoNum type="alphaLcParenR"/>
            </a:pPr>
            <a:r>
              <a:rPr lang="it-IT" sz="1100" dirty="0">
                <a:solidFill>
                  <a:schemeClr val="tx1"/>
                </a:solidFill>
                <a:cs typeface="Times New Roman" panose="02020603050405020304" pitchFamily="18" charset="0"/>
              </a:rPr>
              <a:t>Operato </a:t>
            </a: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lle Commissioni e svolgimento delle prove - Aspetti organizzativi</a:t>
            </a:r>
          </a:p>
          <a:p>
            <a:pPr marL="342900" lvl="0" indent="-342900" algn="just">
              <a:spcAft>
                <a:spcPts val="1000"/>
              </a:spcAft>
              <a:buFont typeface="+mj-lt"/>
              <a:buAutoNum type="alphaLcParenR"/>
            </a:pPr>
            <a:r>
              <a:rPr lang="it-IT" sz="1100" dirty="0">
                <a:solidFill>
                  <a:schemeClr val="tx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roposte migliorative dell'esame di Stato (max cinque righe)</a:t>
            </a:r>
          </a:p>
          <a:p>
            <a:pPr algn="just">
              <a:spcAft>
                <a:spcPts val="600"/>
              </a:spcAft>
            </a:pPr>
            <a:r>
              <a:rPr lang="it-IT" sz="1100" b="0" i="0" u="none" strike="noStrike" kern="1200" baseline="0" noProof="0" dirty="0">
                <a:solidFill>
                  <a:schemeClr val="tx1"/>
                </a:solidFill>
                <a:effectLst/>
              </a:rPr>
              <a:t>Al termine della compilazione il </a:t>
            </a:r>
            <a:r>
              <a:rPr lang="it-IT" sz="1100" b="1" i="0" u="none" strike="noStrike" kern="1200" baseline="0" noProof="0" dirty="0">
                <a:solidFill>
                  <a:schemeClr val="tx1"/>
                </a:solidFill>
                <a:effectLst/>
              </a:rPr>
              <a:t>presidente potrà </a:t>
            </a:r>
            <a:r>
              <a:rPr lang="it-IT" sz="1100" b="1" dirty="0">
                <a:solidFill>
                  <a:schemeClr val="tx1"/>
                </a:solidFill>
              </a:rPr>
              <a:t>r</a:t>
            </a:r>
            <a:r>
              <a:rPr lang="it-IT" sz="1100" b="1" i="0" u="none" strike="noStrike" kern="1200" baseline="0" noProof="0" dirty="0" err="1">
                <a:solidFill>
                  <a:schemeClr val="tx1"/>
                </a:solidFill>
                <a:effectLst/>
              </a:rPr>
              <a:t>enderla</a:t>
            </a:r>
            <a:r>
              <a:rPr lang="it-IT" sz="1100" b="1" i="0" u="none" strike="noStrike" kern="1200" baseline="0" noProof="0" dirty="0">
                <a:solidFill>
                  <a:schemeClr val="tx1"/>
                </a:solidFill>
                <a:effectLst/>
              </a:rPr>
              <a:t> definitiva</a:t>
            </a:r>
            <a:r>
              <a:rPr lang="it-IT" sz="1100" b="0" i="0" u="none" strike="noStrike" kern="1200" baseline="0" noProof="0" dirty="0">
                <a:solidFill>
                  <a:schemeClr val="tx1"/>
                </a:solidFill>
                <a:effectLst/>
              </a:rPr>
              <a:t> e chiudere le attività della sessione.</a:t>
            </a:r>
          </a:p>
          <a:p>
            <a:pPr algn="just">
              <a:spcAft>
                <a:spcPts val="600"/>
              </a:spcAft>
            </a:pPr>
            <a:r>
              <a:rPr lang="it-IT" sz="1100" b="1" dirty="0">
                <a:solidFill>
                  <a:schemeClr val="accent2"/>
                </a:solidFill>
              </a:rPr>
              <a:t>Novità</a:t>
            </a:r>
            <a:r>
              <a:rPr lang="it-IT" sz="1100" dirty="0">
                <a:solidFill>
                  <a:prstClr val="black"/>
                </a:solidFill>
              </a:rPr>
              <a:t>: aggiornata la relazione con le informazioni degli esami 2023</a:t>
            </a:r>
            <a:r>
              <a:rPr lang="it-IT" sz="1100" dirty="0">
                <a:solidFill>
                  <a:srgbClr val="FF0000"/>
                </a:solidFill>
              </a:rPr>
              <a:t>; </a:t>
            </a:r>
            <a:r>
              <a:rPr lang="it-IT" sz="1100" dirty="0">
                <a:solidFill>
                  <a:schemeClr val="tx1"/>
                </a:solidFill>
              </a:rPr>
              <a:t>le relazioni saranno rese disponibili ai dirigenti tecnici alla chiusura delle attività di Commissioni Web.</a:t>
            </a:r>
            <a:endParaRPr lang="it-IT" sz="1100" b="1" dirty="0">
              <a:solidFill>
                <a:schemeClr val="tx1"/>
              </a:solidFill>
            </a:endParaRPr>
          </a:p>
          <a:p>
            <a:pPr>
              <a:spcAft>
                <a:spcPts val="600"/>
              </a:spcAft>
            </a:pPr>
            <a:endParaRPr lang="it-IT" sz="1100" b="1" dirty="0">
              <a:solidFill>
                <a:prstClr val="black"/>
              </a:solidFill>
            </a:endParaRPr>
          </a:p>
          <a:p>
            <a:pPr>
              <a:spcAft>
                <a:spcPts val="600"/>
              </a:spcAft>
            </a:pPr>
            <a:endParaRPr lang="it-IT" sz="1100" b="1" dirty="0">
              <a:solidFill>
                <a:prstClr val="black"/>
              </a:solidFill>
            </a:endParaRPr>
          </a:p>
          <a:p>
            <a:pPr>
              <a:spcAft>
                <a:spcPts val="600"/>
              </a:spcAft>
            </a:pPr>
            <a:r>
              <a:rPr lang="it-IT" sz="1100" b="1" dirty="0">
                <a:solidFill>
                  <a:prstClr val="black"/>
                </a:solidFill>
              </a:rPr>
              <a:t> </a:t>
            </a:r>
            <a:endParaRPr lang="it-IT" sz="1100" dirty="0">
              <a:solidFill>
                <a:prstClr val="black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79E9832-155C-5DBF-68AF-DECA99E65B1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95467" y="3533511"/>
            <a:ext cx="432000" cy="432000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1BB55AC4-DC13-19C6-BACC-6B9799218B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856" y="1469571"/>
            <a:ext cx="6821392" cy="3715171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130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10. Relazione presidente della commissione - consultabile dai Dirigenti Tecnici degli USR (2/2)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279863" y="1223500"/>
            <a:ext cx="4320000" cy="82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0.2 Gestione sezione “Parte C”: </a:t>
            </a:r>
            <a:r>
              <a:rPr lang="it-IT" sz="1200" dirty="0">
                <a:solidFill>
                  <a:prstClr val="black"/>
                </a:solidFill>
              </a:rPr>
              <a:t>Funzionalità di gestione della sezione, che permette al presidente di </a:t>
            </a:r>
            <a:r>
              <a:rPr lang="it-IT" sz="1200" b="1" dirty="0">
                <a:solidFill>
                  <a:prstClr val="black"/>
                </a:solidFill>
              </a:rPr>
              <a:t>compilare tutte le informazioni previste </a:t>
            </a:r>
            <a:r>
              <a:rPr lang="it-IT" sz="1200" dirty="0">
                <a:solidFill>
                  <a:prstClr val="black"/>
                </a:solidFill>
              </a:rPr>
              <a:t>e di effettuare il salvataggio parziale delle informazioni, cliccando sul pulsante Salva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270338" y="2197885"/>
            <a:ext cx="4320000" cy="66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0.3 Archiviazione della versione definitiva della relazione: </a:t>
            </a:r>
            <a:r>
              <a:rPr lang="it-IT" sz="1200" dirty="0">
                <a:solidFill>
                  <a:prstClr val="black"/>
                </a:solidFill>
              </a:rPr>
              <a:t>Funzionalità per la </a:t>
            </a:r>
            <a:r>
              <a:rPr lang="it-IT" sz="1200" b="1" dirty="0">
                <a:solidFill>
                  <a:prstClr val="black"/>
                </a:solidFill>
              </a:rPr>
              <a:t>creazione di una relazione con i dati presenti negli archivi </a:t>
            </a:r>
            <a:r>
              <a:rPr lang="it-IT" sz="1200" dirty="0">
                <a:solidFill>
                  <a:prstClr val="black"/>
                </a:solidFill>
              </a:rPr>
              <a:t>che viene poi registrata nel sistem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270338" y="3033745"/>
            <a:ext cx="4320000" cy="606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0.4 Cancellazione della versione definitiva della relazione: </a:t>
            </a:r>
            <a:r>
              <a:rPr lang="it-IT" sz="1200" dirty="0">
                <a:solidFill>
                  <a:prstClr val="black"/>
                </a:solidFill>
              </a:rPr>
              <a:t>Funzionalità che permette la </a:t>
            </a:r>
            <a:r>
              <a:rPr lang="it-IT" sz="1200" b="1" dirty="0">
                <a:solidFill>
                  <a:prstClr val="black"/>
                </a:solidFill>
              </a:rPr>
              <a:t>cancellazione di una relazione dall’archivio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279863" y="4603139"/>
            <a:ext cx="4320000" cy="5751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0.6 Modifica dei dati: </a:t>
            </a:r>
            <a:r>
              <a:rPr lang="it-IT" sz="1200" dirty="0">
                <a:solidFill>
                  <a:prstClr val="black"/>
                </a:solidFill>
              </a:rPr>
              <a:t>Funzionalità che consente di </a:t>
            </a:r>
            <a:r>
              <a:rPr lang="it-IT" sz="1200" b="1" dirty="0">
                <a:solidFill>
                  <a:prstClr val="black"/>
                </a:solidFill>
              </a:rPr>
              <a:t>modificare i dati relativi alla sezione “Parte C”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270338" y="3827742"/>
            <a:ext cx="4320000" cy="5797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0.5 Stampa della relazione: </a:t>
            </a:r>
            <a:r>
              <a:rPr lang="it-IT" sz="1200" dirty="0">
                <a:solidFill>
                  <a:prstClr val="black"/>
                </a:solidFill>
              </a:rPr>
              <a:t>Funzionalità che permette di </a:t>
            </a:r>
            <a:r>
              <a:rPr lang="it-IT" sz="1200" b="1" dirty="0">
                <a:solidFill>
                  <a:prstClr val="black"/>
                </a:solidFill>
              </a:rPr>
              <a:t>visualizzare una stampa in formato pdf della relazione </a:t>
            </a:r>
            <a:r>
              <a:rPr lang="it-IT" sz="1200" dirty="0">
                <a:solidFill>
                  <a:prstClr val="black"/>
                </a:solidFill>
              </a:rPr>
              <a:t>con tutte le informazioni registrate al momento della stampa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7279863" y="5303519"/>
            <a:ext cx="4320000" cy="7178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0.7 Consultazione dei dati: </a:t>
            </a:r>
            <a:r>
              <a:rPr lang="it-IT" sz="1200" dirty="0">
                <a:solidFill>
                  <a:prstClr val="black"/>
                </a:solidFill>
              </a:rPr>
              <a:t>I Dirigenti Tecnici potranno consultare </a:t>
            </a:r>
            <a:r>
              <a:rPr lang="it-IT" sz="1200" b="1" dirty="0">
                <a:solidFill>
                  <a:prstClr val="black"/>
                </a:solidFill>
              </a:rPr>
              <a:t>i dati disponibili in maniera aggregata </a:t>
            </a:r>
            <a:r>
              <a:rPr lang="it-IT" sz="1200" dirty="0">
                <a:solidFill>
                  <a:prstClr val="black"/>
                </a:solidFill>
              </a:rPr>
              <a:t>e potranno </a:t>
            </a:r>
            <a:r>
              <a:rPr lang="it-IT" sz="1200" b="1" dirty="0">
                <a:solidFill>
                  <a:prstClr val="black"/>
                </a:solidFill>
              </a:rPr>
              <a:t>scaricare il pdf </a:t>
            </a:r>
            <a:r>
              <a:rPr lang="it-IT" sz="1200" dirty="0">
                <a:solidFill>
                  <a:prstClr val="black"/>
                </a:solidFill>
              </a:rPr>
              <a:t>della relazion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4B2814-885A-15E7-0531-10D6E9BAF31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13743" y="1478208"/>
            <a:ext cx="432000" cy="432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37FB7F-EA62-7E89-45C9-C0C60288524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33095" y="2380901"/>
            <a:ext cx="432000" cy="432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A2C041B-21AD-5735-9F67-0C8411C9222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31247" y="3981976"/>
            <a:ext cx="432000" cy="432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10D3420-B25D-A22E-FB13-52107940CBE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13743" y="3139389"/>
            <a:ext cx="432000" cy="432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73C1769-3BC8-DBE8-477F-AC642B8135B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33095" y="4824563"/>
            <a:ext cx="432000" cy="432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BE95338-6D08-671A-DBEF-756E7231CA0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716585" y="5515838"/>
            <a:ext cx="432000" cy="432000"/>
          </a:xfrm>
          <a:prstGeom prst="rect">
            <a:avLst/>
          </a:prstGeom>
        </p:spPr>
      </p:pic>
      <p:pic>
        <p:nvPicPr>
          <p:cNvPr id="17" name="Picture 16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497E0270-EE0D-83FD-AEFA-C8E84AAB3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265" y="1227294"/>
            <a:ext cx="6038358" cy="4859410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0724108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11. Gestione Attività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9969599" y="1447245"/>
            <a:ext cx="2026139" cy="210594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1.1 Sblocco candidati: </a:t>
            </a:r>
            <a:r>
              <a:rPr lang="it-IT" sz="1200" dirty="0">
                <a:solidFill>
                  <a:prstClr val="black"/>
                </a:solidFill>
              </a:rPr>
              <a:t>Funzione che consente di </a:t>
            </a:r>
            <a:r>
              <a:rPr lang="it-IT" sz="1200" b="1" dirty="0">
                <a:solidFill>
                  <a:prstClr val="black"/>
                </a:solidFill>
              </a:rPr>
              <a:t>sbloccare i dati di un candidato</a:t>
            </a:r>
            <a:r>
              <a:rPr lang="it-IT" sz="1200" dirty="0">
                <a:solidFill>
                  <a:prstClr val="black"/>
                </a:solidFill>
              </a:rPr>
              <a:t>, affinché la segreteria scolastica possa correggere eventuali errori riscontrati dalla commissione nella fase di presentazione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385199" y="2068216"/>
            <a:ext cx="432000" cy="432000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">
            <a:extLst>
              <a:ext uri="{FF2B5EF4-FFF2-40B4-BE49-F238E27FC236}">
                <a16:creationId xmlns:a16="http://schemas.microsoft.com/office/drawing/2014/main" id="{81F62747-3D51-8B9E-5E58-FC8AD8B131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6374" y="1306285"/>
            <a:ext cx="8765345" cy="4114802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4116228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12. Chiusura attività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452623" y="3055407"/>
            <a:ext cx="3147239" cy="32784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2.2 Chiusura attività: </a:t>
            </a:r>
            <a:r>
              <a:rPr lang="it-IT" sz="1200" dirty="0">
                <a:solidFill>
                  <a:prstClr val="black"/>
                </a:solidFill>
              </a:rPr>
              <a:t>In fase di </a:t>
            </a:r>
            <a:r>
              <a:rPr lang="it-IT" sz="1200" b="1" dirty="0">
                <a:solidFill>
                  <a:prstClr val="black"/>
                </a:solidFill>
              </a:rPr>
              <a:t>chiusura attività della commissione</a:t>
            </a:r>
            <a:r>
              <a:rPr lang="it-IT" sz="1200" dirty="0">
                <a:solidFill>
                  <a:prstClr val="black"/>
                </a:solidFill>
              </a:rPr>
              <a:t> </a:t>
            </a:r>
            <a:r>
              <a:rPr lang="it-IT" sz="1200" u="sng" dirty="0">
                <a:solidFill>
                  <a:prstClr val="black"/>
                </a:solidFill>
              </a:rPr>
              <a:t>viene verificata</a:t>
            </a:r>
            <a:r>
              <a:rPr lang="it-IT" sz="1200" dirty="0">
                <a:solidFill>
                  <a:prstClr val="black"/>
                </a:solidFill>
              </a:rPr>
              <a:t>:</a:t>
            </a:r>
          </a:p>
          <a:p>
            <a:pPr marL="171450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>
                <a:solidFill>
                  <a:prstClr val="black"/>
                </a:solidFill>
              </a:rPr>
              <a:t>la presenza delle </a:t>
            </a:r>
            <a:r>
              <a:rPr lang="it-IT" sz="1200" b="1" dirty="0">
                <a:solidFill>
                  <a:prstClr val="black"/>
                </a:solidFill>
              </a:rPr>
              <a:t>versioni definitive del registro dei risultati degli esami </a:t>
            </a:r>
            <a:r>
              <a:rPr lang="it-IT" sz="1200" dirty="0">
                <a:solidFill>
                  <a:prstClr val="black"/>
                </a:solidFill>
              </a:rPr>
              <a:t>per ciascuna delle classi della commissione</a:t>
            </a:r>
          </a:p>
          <a:p>
            <a:pPr marL="171450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>
                <a:solidFill>
                  <a:prstClr val="black"/>
                </a:solidFill>
              </a:rPr>
              <a:t>in caso di presenza di candidati nella sessione straordinaria, la presenza delle </a:t>
            </a:r>
            <a:r>
              <a:rPr lang="it-IT" sz="1200" b="1" dirty="0">
                <a:solidFill>
                  <a:prstClr val="black"/>
                </a:solidFill>
              </a:rPr>
              <a:t>versioni definitive del registro dei risultati degli esami per la sessione straordinaria </a:t>
            </a:r>
            <a:r>
              <a:rPr lang="it-IT" sz="1200" dirty="0">
                <a:solidFill>
                  <a:prstClr val="black"/>
                </a:solidFill>
              </a:rPr>
              <a:t>e dell’eventuale scheda per l’ispettore tecnico di vigilanza.</a:t>
            </a:r>
          </a:p>
          <a:p>
            <a:pPr marL="171450" indent="-1714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it-IT" sz="1200" dirty="0">
                <a:solidFill>
                  <a:prstClr val="black"/>
                </a:solidFill>
              </a:rPr>
              <a:t>la presenza della </a:t>
            </a:r>
            <a:r>
              <a:rPr lang="it-IT" sz="1200" b="1" dirty="0">
                <a:solidFill>
                  <a:prstClr val="black"/>
                </a:solidFill>
              </a:rPr>
              <a:t>versione archiviata </a:t>
            </a:r>
            <a:r>
              <a:rPr lang="it-IT" sz="1200" dirty="0">
                <a:solidFill>
                  <a:prstClr val="black"/>
                </a:solidFill>
              </a:rPr>
              <a:t>della </a:t>
            </a:r>
            <a:r>
              <a:rPr lang="it-IT" sz="1200" b="1" dirty="0">
                <a:solidFill>
                  <a:prstClr val="black"/>
                </a:solidFill>
              </a:rPr>
              <a:t>relazione del presidente </a:t>
            </a:r>
            <a:r>
              <a:rPr lang="it-IT" sz="1200" dirty="0">
                <a:solidFill>
                  <a:prstClr val="black"/>
                </a:solidFill>
              </a:rPr>
              <a:t>per consentire successive analisi quali-quantitative circa gli esiti degli Esami di Stato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452623" y="1552782"/>
            <a:ext cx="3147239" cy="13983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2.1 Chiusura attività: </a:t>
            </a:r>
            <a:r>
              <a:rPr lang="it-IT" sz="1200" dirty="0">
                <a:solidFill>
                  <a:prstClr val="black"/>
                </a:solidFill>
              </a:rPr>
              <a:t>Funzione che consente di </a:t>
            </a:r>
            <a:r>
              <a:rPr lang="it-IT" sz="1200" b="1" dirty="0">
                <a:solidFill>
                  <a:prstClr val="black"/>
                </a:solidFill>
              </a:rPr>
              <a:t>concludere tutto il processo degli esami di Stato</a:t>
            </a:r>
            <a:r>
              <a:rPr lang="it-IT" sz="1200" dirty="0">
                <a:solidFill>
                  <a:prstClr val="black"/>
                </a:solidFill>
              </a:rPr>
              <a:t>, trasmettere automaticamente gli </a:t>
            </a:r>
            <a:r>
              <a:rPr lang="it-IT" sz="1200" b="1" dirty="0">
                <a:solidFill>
                  <a:prstClr val="black"/>
                </a:solidFill>
              </a:rPr>
              <a:t>esiti degli esami al SIDI </a:t>
            </a:r>
            <a:r>
              <a:rPr lang="it-IT" sz="1200" dirty="0">
                <a:solidFill>
                  <a:prstClr val="black"/>
                </a:solidFill>
              </a:rPr>
              <a:t>e </a:t>
            </a:r>
            <a:r>
              <a:rPr lang="it-IT" sz="1200" b="1" dirty="0">
                <a:solidFill>
                  <a:prstClr val="black"/>
                </a:solidFill>
              </a:rPr>
              <a:t>revocare le autorizzazioni </a:t>
            </a:r>
            <a:r>
              <a:rPr lang="it-IT" sz="1200" dirty="0">
                <a:solidFill>
                  <a:prstClr val="black"/>
                </a:solidFill>
              </a:rPr>
              <a:t>dei membri della commissione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5089A5C-5D04-892D-0507-9EC60C148A35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52562" y="3535854"/>
            <a:ext cx="432000" cy="432000"/>
          </a:xfrm>
          <a:prstGeom prst="rect">
            <a:avLst/>
          </a:prstGeom>
        </p:spPr>
      </p:pic>
      <p:pic>
        <p:nvPicPr>
          <p:cNvPr id="3" name="Picture 2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9A87F880-7F64-6F96-E728-9AD07D6641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0323" y="2158316"/>
            <a:ext cx="7231120" cy="1998905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A7B355A-3671-7206-6D90-A76DAC4D41D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952562" y="213342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097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13. Assistenza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370480" y="3418013"/>
            <a:ext cx="3147239" cy="19380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3. Assistenza: </a:t>
            </a:r>
            <a:r>
              <a:rPr lang="it-IT" sz="1200" dirty="0">
                <a:solidFill>
                  <a:prstClr val="black"/>
                </a:solidFill>
              </a:rPr>
              <a:t>attraverso la voce del menù è possibile compilare un modulo e inviare una richiesta di assistenza direttamente al team di supporto per Commissione Web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A7B355A-3671-7206-6D90-A76DAC4D41D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453150" y="4144326"/>
            <a:ext cx="432000" cy="432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D859000-C834-64D1-5F74-2ADEE07A4C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7900" y="1285902"/>
            <a:ext cx="7696200" cy="571500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5067FFF-EFE3-8F4A-38D8-D02472D7F769}"/>
              </a:ext>
            </a:extLst>
          </p:cNvPr>
          <p:cNvCxnSpPr>
            <a:cxnSpLocks/>
          </p:cNvCxnSpPr>
          <p:nvPr/>
        </p:nvCxnSpPr>
        <p:spPr>
          <a:xfrm flipH="1">
            <a:off x="7040880" y="1847088"/>
            <a:ext cx="1161288" cy="566928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5" name="Picture 14" descr="A picture containing text, screenshot, software, number&#10;&#10;Description automatically generated">
            <a:extLst>
              <a:ext uri="{FF2B5EF4-FFF2-40B4-BE49-F238E27FC236}">
                <a16:creationId xmlns:a16="http://schemas.microsoft.com/office/drawing/2014/main" id="{ACD8D5CE-AD22-5AE6-3327-288E695EDB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7201" y="2305811"/>
            <a:ext cx="3390619" cy="3677031"/>
          </a:xfrm>
          <a:prstGeom prst="rect">
            <a:avLst/>
          </a:prstGeom>
          <a:effectLst>
            <a:outerShdw blurRad="50800" dist="50800" dir="5400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069697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Esame di Stato 2023 (1/2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EA78F48-CB97-403A-AB45-1E76522FD0E3}"/>
              </a:ext>
            </a:extLst>
          </p:cNvPr>
          <p:cNvGrpSpPr/>
          <p:nvPr/>
        </p:nvGrpSpPr>
        <p:grpSpPr>
          <a:xfrm>
            <a:off x="969918" y="1153248"/>
            <a:ext cx="720000" cy="720000"/>
            <a:chOff x="969918" y="1153248"/>
            <a:chExt cx="720000" cy="720000"/>
          </a:xfrm>
        </p:grpSpPr>
        <p:sp>
          <p:nvSpPr>
            <p:cNvPr id="15" name="Oval 14"/>
            <p:cNvSpPr/>
            <p:nvPr/>
          </p:nvSpPr>
          <p:spPr>
            <a:xfrm>
              <a:off x="969918" y="1153248"/>
              <a:ext cx="720000" cy="72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err="1">
                <a:solidFill>
                  <a:schemeClr val="bg1"/>
                </a:solidFill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06389" y="1175472"/>
              <a:ext cx="540000" cy="540000"/>
            </a:xfrm>
            <a:prstGeom prst="rect">
              <a:avLst/>
            </a:prstGeom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67F6CE3-7EFB-4B79-A265-61F61D4A9627}"/>
              </a:ext>
            </a:extLst>
          </p:cNvPr>
          <p:cNvGrpSpPr/>
          <p:nvPr/>
        </p:nvGrpSpPr>
        <p:grpSpPr>
          <a:xfrm>
            <a:off x="1016389" y="4624753"/>
            <a:ext cx="720000" cy="720000"/>
            <a:chOff x="969918" y="3363004"/>
            <a:chExt cx="720000" cy="720000"/>
          </a:xfrm>
        </p:grpSpPr>
        <p:sp>
          <p:nvSpPr>
            <p:cNvPr id="4" name="Oval 3"/>
            <p:cNvSpPr/>
            <p:nvPr/>
          </p:nvSpPr>
          <p:spPr>
            <a:xfrm>
              <a:off x="969918" y="3363004"/>
              <a:ext cx="720000" cy="72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err="1">
                <a:solidFill>
                  <a:schemeClr val="bg1"/>
                </a:solidFill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06389" y="3453004"/>
              <a:ext cx="540000" cy="540000"/>
            </a:xfrm>
            <a:prstGeom prst="rect">
              <a:avLst/>
            </a:prstGeom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98D603B-E569-6B4D-1600-C6052074F1FF}"/>
              </a:ext>
            </a:extLst>
          </p:cNvPr>
          <p:cNvSpPr txBox="1"/>
          <p:nvPr/>
        </p:nvSpPr>
        <p:spPr>
          <a:xfrm>
            <a:off x="1888185" y="1041328"/>
            <a:ext cx="9144000" cy="181852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just">
              <a:lnSpc>
                <a:spcPct val="150000"/>
              </a:lnSpc>
            </a:pPr>
            <a:r>
              <a:rPr lang="it-IT" sz="1600" dirty="0">
                <a:effectLst/>
                <a:ea typeface="Times New Roman" panose="02020603050405020304" pitchFamily="18" charset="0"/>
              </a:rPr>
              <a:t>L’Ordinanza Ministeriale n.</a:t>
            </a:r>
            <a:r>
              <a:rPr lang="it-IT" sz="1600" dirty="0">
                <a:ea typeface="Times New Roman" panose="02020603050405020304" pitchFamily="18" charset="0"/>
              </a:rPr>
              <a:t>45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 del 9 marzo 2023 prevede che l’Esame di Stato del II ciclo sia costituito </a:t>
            </a: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it-IT" sz="1600" dirty="0">
                <a:effectLst/>
                <a:ea typeface="Times New Roman" panose="02020603050405020304" pitchFamily="18" charset="0"/>
              </a:rPr>
              <a:t>da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una prova scritta di Italiano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</a:t>
            </a: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it-IT" sz="1600" dirty="0">
                <a:effectLst/>
                <a:ea typeface="Times New Roman" panose="02020603050405020304" pitchFamily="18" charset="0"/>
              </a:rPr>
              <a:t>da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una seconda prova sulle discipine di indirizzo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</a:t>
            </a: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it-IT" sz="1600" dirty="0">
                <a:effectLst/>
                <a:ea typeface="Times New Roman" panose="02020603050405020304" pitchFamily="18" charset="0"/>
              </a:rPr>
              <a:t>da un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colloquio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.</a:t>
            </a:r>
          </a:p>
          <a:p>
            <a:pPr algn="just">
              <a:lnSpc>
                <a:spcPct val="150000"/>
              </a:lnSpc>
            </a:pPr>
            <a:r>
              <a:rPr lang="it-IT" sz="1600" dirty="0">
                <a:effectLst/>
                <a:ea typeface="Times New Roman" panose="02020603050405020304" pitchFamily="18" charset="0"/>
              </a:rPr>
              <a:t>La sessione d’Esame avrà inizio il 21 giugno 2023, con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la prima prova scritta di Italiano, che sarà predisposta su base nazionale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Il 23 giugno è prevista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la seconda prova scritta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diversa per ciascun indirizzo predisposta su base nazionale</a:t>
            </a:r>
            <a:endParaRPr lang="it-IT" sz="1600" dirty="0">
              <a:effectLst/>
              <a:ea typeface="Times New Roman" panose="02020603050405020304" pitchFamily="18" charset="0"/>
            </a:endParaRPr>
          </a:p>
          <a:p>
            <a:pPr>
              <a:spcAft>
                <a:spcPts val="600"/>
              </a:spcAft>
            </a:pPr>
            <a:endParaRPr lang="en-US" sz="900" dirty="0" err="1">
              <a:solidFill>
                <a:schemeClr val="tx2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738978-BFD4-0D8A-C56E-29F4D63C91EA}"/>
              </a:ext>
            </a:extLst>
          </p:cNvPr>
          <p:cNvSpPr txBox="1"/>
          <p:nvPr/>
        </p:nvSpPr>
        <p:spPr>
          <a:xfrm>
            <a:off x="1888185" y="4392175"/>
            <a:ext cx="9144000" cy="1331057"/>
          </a:xfrm>
          <a:prstGeom prst="rect">
            <a:avLst/>
          </a:prstGeom>
          <a:noFill/>
        </p:spPr>
        <p:txBody>
          <a:bodyPr wrap="square" lIns="54610" tIns="54610" rIns="54610" bIns="54610" rtlCol="0" anchor="t">
            <a:no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Per le sezioni </a:t>
            </a:r>
            <a:r>
              <a:rPr lang="it-IT" sz="1600" b="1" dirty="0"/>
              <a:t>ESABAC, ESABAC techno</a:t>
            </a:r>
            <a:r>
              <a:rPr lang="it-IT" sz="1600" dirty="0"/>
              <a:t>, nei licei con sezioni ad opzione internazionale cinese, spagnola e tedesca, per le </a:t>
            </a:r>
            <a:r>
              <a:rPr lang="it-IT" sz="1600" b="1" dirty="0"/>
              <a:t>scuole con lingua d’insegnamento slovena</a:t>
            </a:r>
            <a:r>
              <a:rPr lang="it-IT" sz="1600" dirty="0"/>
              <a:t> è prevista </a:t>
            </a:r>
            <a:r>
              <a:rPr lang="it-IT" sz="1600" b="1" dirty="0"/>
              <a:t>una terza prova scritta</a:t>
            </a:r>
            <a:r>
              <a:rPr lang="it-IT" sz="1600" dirty="0"/>
              <a:t>.  </a:t>
            </a:r>
            <a:endParaRPr lang="en-US" sz="9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1249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EAA87361-44D3-49A3-A8AB-0435A5D8A8F2}"/>
              </a:ext>
            </a:extLst>
          </p:cNvPr>
          <p:cNvSpPr txBox="1"/>
          <p:nvPr/>
        </p:nvSpPr>
        <p:spPr>
          <a:xfrm>
            <a:off x="1847557" y="2321168"/>
            <a:ext cx="8496886" cy="1871003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8800" dirty="0">
                <a:solidFill>
                  <a:schemeClr val="tx2"/>
                </a:solidFill>
              </a:rPr>
              <a:t>Grazie</a:t>
            </a:r>
          </a:p>
        </p:txBody>
      </p:sp>
    </p:spTree>
    <p:extLst>
      <p:ext uri="{BB962C8B-B14F-4D97-AF65-F5344CB8AC3E}">
        <p14:creationId xmlns:p14="http://schemas.microsoft.com/office/powerpoint/2010/main" val="956633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Esame di Stato 2023 (2/2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1873518" y="3586551"/>
            <a:ext cx="9748020" cy="85953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>
                <a:solidFill>
                  <a:prstClr val="black"/>
                </a:solidFill>
              </a:rPr>
              <a:t>Da Commissione web, oltre a visualizzare il pdf, sarà inoltre possibile navigare all’interno del </a:t>
            </a:r>
            <a:r>
              <a:rPr lang="it-IT" sz="1600" b="1" dirty="0">
                <a:solidFill>
                  <a:prstClr val="black"/>
                </a:solidFill>
              </a:rPr>
              <a:t>Curriculum dello studente</a:t>
            </a:r>
            <a:r>
              <a:rPr lang="it-IT" sz="1600" dirty="0">
                <a:solidFill>
                  <a:prstClr val="black"/>
                </a:solidFill>
              </a:rPr>
              <a:t>, al fine di poterlo consultare durante lo svolgimento degli esami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91FB9CA9-4566-4258-ACC6-2078B6755840}"/>
              </a:ext>
            </a:extLst>
          </p:cNvPr>
          <p:cNvGrpSpPr/>
          <p:nvPr/>
        </p:nvGrpSpPr>
        <p:grpSpPr>
          <a:xfrm>
            <a:off x="879918" y="3728190"/>
            <a:ext cx="720000" cy="720000"/>
            <a:chOff x="969918" y="5236128"/>
            <a:chExt cx="720000" cy="720000"/>
          </a:xfrm>
        </p:grpSpPr>
        <p:sp>
          <p:nvSpPr>
            <p:cNvPr id="13" name="Oval 12"/>
            <p:cNvSpPr/>
            <p:nvPr/>
          </p:nvSpPr>
          <p:spPr>
            <a:xfrm>
              <a:off x="969918" y="5236128"/>
              <a:ext cx="720000" cy="72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err="1">
                <a:solidFill>
                  <a:schemeClr val="bg1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59918" y="5326128"/>
              <a:ext cx="540000" cy="540000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C616CC2B-03E8-42A1-9EDA-D9FFD01DEC00}"/>
              </a:ext>
            </a:extLst>
          </p:cNvPr>
          <p:cNvSpPr txBox="1"/>
          <p:nvPr/>
        </p:nvSpPr>
        <p:spPr>
          <a:xfrm>
            <a:off x="1904718" y="2410032"/>
            <a:ext cx="9685620" cy="95753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lvl="0" algn="just">
              <a:lnSpc>
                <a:spcPct val="150000"/>
              </a:lnSpc>
            </a:pPr>
            <a:endParaRPr lang="it-IT" sz="1600" dirty="0">
              <a:ea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</a:pPr>
            <a:r>
              <a:rPr lang="it-IT" sz="1600" dirty="0">
                <a:effectLst/>
                <a:ea typeface="Times New Roman" panose="02020603050405020304" pitchFamily="18" charset="0"/>
              </a:rPr>
              <a:t>In Commissione Web vengono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esposti i singoli crediti dei tre anni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con il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totale in 40esimi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.</a:t>
            </a:r>
          </a:p>
          <a:p>
            <a:pPr marL="342900" lvl="0" indent="-342900" algn="just">
              <a:lnSpc>
                <a:spcPct val="150000"/>
              </a:lnSpc>
              <a:buFont typeface="Symbol" panose="05050102010706020507" pitchFamily="18" charset="2"/>
              <a:buChar char=""/>
            </a:pPr>
            <a:endParaRPr lang="it-IT" sz="1600" dirty="0">
              <a:effectLst/>
              <a:ea typeface="Times New Roman" panose="02020603050405020304" pitchFamily="18" charset="0"/>
            </a:endParaRPr>
          </a:p>
          <a:p>
            <a:pPr>
              <a:spcAft>
                <a:spcPts val="600"/>
              </a:spcAft>
            </a:pPr>
            <a:endParaRPr lang="it-IT" sz="900" dirty="0">
              <a:solidFill>
                <a:schemeClr val="tx2"/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773E9D4-187D-40E4-99EA-F5F27BEF0886}"/>
              </a:ext>
            </a:extLst>
          </p:cNvPr>
          <p:cNvGrpSpPr/>
          <p:nvPr/>
        </p:nvGrpSpPr>
        <p:grpSpPr>
          <a:xfrm>
            <a:off x="969918" y="1219977"/>
            <a:ext cx="720000" cy="720000"/>
            <a:chOff x="969918" y="4123944"/>
            <a:chExt cx="720000" cy="72000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5EE4563-35CB-4533-A955-5A84385CD361}"/>
                </a:ext>
              </a:extLst>
            </p:cNvPr>
            <p:cNvSpPr/>
            <p:nvPr/>
          </p:nvSpPr>
          <p:spPr>
            <a:xfrm>
              <a:off x="969918" y="4123944"/>
              <a:ext cx="720000" cy="72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err="1">
                <a:solidFill>
                  <a:schemeClr val="bg1"/>
                </a:solidFill>
              </a:endParaRP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9839F27A-1AF0-4F49-BF68-6FADDEB4C1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59918" y="4213944"/>
              <a:ext cx="540000" cy="540000"/>
            </a:xfrm>
            <a:prstGeom prst="rect">
              <a:avLst/>
            </a:prstGeom>
          </p:spPr>
        </p:pic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D124208-62F9-4183-BB09-D722DB612E58}"/>
              </a:ext>
            </a:extLst>
          </p:cNvPr>
          <p:cNvSpPr txBox="1"/>
          <p:nvPr/>
        </p:nvSpPr>
        <p:spPr>
          <a:xfrm>
            <a:off x="1966446" y="1101209"/>
            <a:ext cx="9623892" cy="95753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b="1" dirty="0">
                <a:effectLst/>
                <a:ea typeface="Times New Roman" panose="02020603050405020304" pitchFamily="18" charset="0"/>
              </a:rPr>
              <a:t>La valutazione finale resta in centesimi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. Al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credito scolastico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 viene attribuito fino a un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massimo di 40 punti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. Per quanto riguarda le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prove scritte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a quella di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Italiano 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vengono attribuiti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fino a </a:t>
            </a:r>
            <a:r>
              <a:rPr lang="it-IT" sz="1600" b="1" dirty="0">
                <a:ea typeface="Times New Roman" panose="02020603050405020304" pitchFamily="18" charset="0"/>
              </a:rPr>
              <a:t>20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 punti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alla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seconda prova fino a </a:t>
            </a:r>
            <a:r>
              <a:rPr lang="it-IT" sz="1600" b="1" dirty="0">
                <a:ea typeface="Times New Roman" panose="02020603050405020304" pitchFamily="18" charset="0"/>
              </a:rPr>
              <a:t>20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al </a:t>
            </a:r>
            <a:r>
              <a:rPr lang="it-IT" sz="1600" b="1" dirty="0">
                <a:effectLst/>
                <a:ea typeface="Times New Roman" panose="02020603050405020304" pitchFamily="18" charset="0"/>
              </a:rPr>
              <a:t>colloquio fino a 20</a:t>
            </a:r>
            <a:r>
              <a:rPr lang="it-IT" sz="1600" dirty="0">
                <a:effectLst/>
                <a:ea typeface="Times New Roman" panose="02020603050405020304" pitchFamily="18" charset="0"/>
              </a:rPr>
              <a:t>, è possibile ottenere la lode. </a:t>
            </a:r>
          </a:p>
          <a:p>
            <a:pPr>
              <a:spcAft>
                <a:spcPts val="600"/>
              </a:spcAft>
            </a:pPr>
            <a:endParaRPr lang="it-IT" sz="900" dirty="0">
              <a:solidFill>
                <a:schemeClr val="tx2"/>
              </a:solidFill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1E50C77-BB53-461D-97A1-B4A3C0502E4D}"/>
              </a:ext>
            </a:extLst>
          </p:cNvPr>
          <p:cNvGrpSpPr/>
          <p:nvPr/>
        </p:nvGrpSpPr>
        <p:grpSpPr>
          <a:xfrm>
            <a:off x="948149" y="2561107"/>
            <a:ext cx="720000" cy="720000"/>
            <a:chOff x="969918" y="4123944"/>
            <a:chExt cx="720000" cy="72000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278D2FC-2E92-4FA7-924B-F25216E75A1D}"/>
                </a:ext>
              </a:extLst>
            </p:cNvPr>
            <p:cNvSpPr/>
            <p:nvPr/>
          </p:nvSpPr>
          <p:spPr>
            <a:xfrm>
              <a:off x="969918" y="4123944"/>
              <a:ext cx="720000" cy="72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err="1">
                <a:solidFill>
                  <a:schemeClr val="bg1"/>
                </a:solidFill>
              </a:endParaRPr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7297C82-63DE-48F9-85D0-14A11126F36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59918" y="4213944"/>
              <a:ext cx="540000" cy="540000"/>
            </a:xfrm>
            <a:prstGeom prst="rect">
              <a:avLst/>
            </a:prstGeom>
          </p:spPr>
        </p:pic>
      </p:grpSp>
      <p:sp>
        <p:nvSpPr>
          <p:cNvPr id="24" name="Rectangle 5">
            <a:extLst>
              <a:ext uri="{FF2B5EF4-FFF2-40B4-BE49-F238E27FC236}">
                <a16:creationId xmlns:a16="http://schemas.microsoft.com/office/drawing/2014/main" id="{613A5322-FAE1-4182-8E5D-84617317D8DF}"/>
              </a:ext>
            </a:extLst>
          </p:cNvPr>
          <p:cNvSpPr/>
          <p:nvPr/>
        </p:nvSpPr>
        <p:spPr>
          <a:xfrm>
            <a:off x="1776757" y="4811483"/>
            <a:ext cx="9844781" cy="89582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>
                <a:solidFill>
                  <a:schemeClr val="tx1"/>
                </a:solidFill>
              </a:rPr>
              <a:t>Per i dirigenti tecnici sarà disponibile un </a:t>
            </a:r>
            <a:r>
              <a:rPr lang="it-IT" sz="1600" b="1" dirty="0">
                <a:solidFill>
                  <a:schemeClr val="tx1"/>
                </a:solidFill>
              </a:rPr>
              <a:t>ambiente di simulazione </a:t>
            </a:r>
            <a:r>
              <a:rPr lang="it-IT" sz="1600" dirty="0">
                <a:solidFill>
                  <a:schemeClr val="tx1"/>
                </a:solidFill>
              </a:rPr>
              <a:t>di Commissioni Web con le funzionalità presenti nell’applicativo.</a:t>
            </a:r>
            <a:endParaRPr lang="it-IT" sz="1600" dirty="0">
              <a:solidFill>
                <a:schemeClr val="tx1"/>
              </a:solidFill>
              <a:cs typeface="Arial"/>
            </a:endParaRPr>
          </a:p>
          <a:p>
            <a:pPr lvl="0">
              <a:lnSpc>
                <a:spcPct val="150000"/>
              </a:lnSpc>
              <a:spcAft>
                <a:spcPts val="600"/>
              </a:spcAft>
            </a:pPr>
            <a:r>
              <a:rPr lang="it-IT" sz="1600" dirty="0">
                <a:solidFill>
                  <a:schemeClr val="tx1"/>
                </a:solidFill>
              </a:rPr>
              <a:t>Per le commissioni, all’interno dell’applicativo, sarà disponibile un’area per il supporto e l’assistenza tecnica.</a:t>
            </a:r>
            <a:endParaRPr lang="it-IT" dirty="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20" name="Group 6">
            <a:extLst>
              <a:ext uri="{FF2B5EF4-FFF2-40B4-BE49-F238E27FC236}">
                <a16:creationId xmlns:a16="http://schemas.microsoft.com/office/drawing/2014/main" id="{3D93CA95-BAB9-45D3-8F8E-93E1E596095F}"/>
              </a:ext>
            </a:extLst>
          </p:cNvPr>
          <p:cNvGrpSpPr/>
          <p:nvPr/>
        </p:nvGrpSpPr>
        <p:grpSpPr>
          <a:xfrm>
            <a:off x="879918" y="4953822"/>
            <a:ext cx="720000" cy="720000"/>
            <a:chOff x="969918" y="3363004"/>
            <a:chExt cx="720000" cy="720000"/>
          </a:xfrm>
        </p:grpSpPr>
        <p:sp>
          <p:nvSpPr>
            <p:cNvPr id="25" name="Oval 3">
              <a:extLst>
                <a:ext uri="{FF2B5EF4-FFF2-40B4-BE49-F238E27FC236}">
                  <a16:creationId xmlns:a16="http://schemas.microsoft.com/office/drawing/2014/main" id="{CDAE6934-A9D3-401E-82BF-7DB1D9C2D41A}"/>
                </a:ext>
              </a:extLst>
            </p:cNvPr>
            <p:cNvSpPr/>
            <p:nvPr/>
          </p:nvSpPr>
          <p:spPr>
            <a:xfrm>
              <a:off x="969918" y="3363004"/>
              <a:ext cx="720000" cy="72000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it-IT" sz="9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4">
              <a:extLst>
                <a:ext uri="{FF2B5EF4-FFF2-40B4-BE49-F238E27FC236}">
                  <a16:creationId xmlns:a16="http://schemas.microsoft.com/office/drawing/2014/main" id="{3F6BDEE7-1B2F-42FF-A3F5-3818105CB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68231" y="3453004"/>
              <a:ext cx="540000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536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1. Attività relative agli Esami di Stato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E8090EDF-E190-487E-B2C9-0F9F93B5030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233604"/>
              </p:ext>
            </p:extLst>
          </p:nvPr>
        </p:nvGraphicFramePr>
        <p:xfrm>
          <a:off x="609919" y="1341120"/>
          <a:ext cx="10980420" cy="49146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6401">
                  <a:extLst>
                    <a:ext uri="{9D8B030D-6E8A-4147-A177-3AD203B41FA5}">
                      <a16:colId xmlns:a16="http://schemas.microsoft.com/office/drawing/2014/main" val="1240666462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val="667042610"/>
                    </a:ext>
                  </a:extLst>
                </a:gridCol>
                <a:gridCol w="2631440">
                  <a:extLst>
                    <a:ext uri="{9D8B030D-6E8A-4147-A177-3AD203B41FA5}">
                      <a16:colId xmlns:a16="http://schemas.microsoft.com/office/drawing/2014/main" val="2552763111"/>
                    </a:ext>
                  </a:extLst>
                </a:gridCol>
                <a:gridCol w="2243797">
                  <a:extLst>
                    <a:ext uri="{9D8B030D-6E8A-4147-A177-3AD203B41FA5}">
                      <a16:colId xmlns:a16="http://schemas.microsoft.com/office/drawing/2014/main" val="573989911"/>
                    </a:ext>
                  </a:extLst>
                </a:gridCol>
                <a:gridCol w="2122782">
                  <a:extLst>
                    <a:ext uri="{9D8B030D-6E8A-4147-A177-3AD203B41FA5}">
                      <a16:colId xmlns:a16="http://schemas.microsoft.com/office/drawing/2014/main" val="2894511932"/>
                    </a:ext>
                  </a:extLst>
                </a:gridCol>
              </a:tblGrid>
              <a:tr h="1061285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844083" rtl="0" eaLnBrk="1" latinLnBrk="0" hangingPunct="1"/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IMA FASE </a:t>
                      </a:r>
                    </a:p>
                    <a:p>
                      <a:pPr marL="0" algn="l" defTabSz="844083" rtl="0" eaLnBrk="1" latinLnBrk="0" hangingPunct="1"/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Presentazione del candida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844083" rtl="0" eaLnBrk="1" latinLnBrk="0" hangingPunct="1"/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SECONDA FASE  </a:t>
                      </a:r>
                    </a:p>
                    <a:p>
                      <a:pPr marL="0" algn="l" defTabSz="844083" rtl="0" eaLnBrk="1" latinLnBrk="0" hangingPunct="1"/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Commissione W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TERZA FASE</a:t>
                      </a:r>
                    </a:p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Esiti degli Esami di Stato </a:t>
                      </a:r>
                    </a:p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QUARTA FASE</a:t>
                      </a:r>
                    </a:p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62" b="1" kern="120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dempimenti Finali</a:t>
                      </a:r>
                    </a:p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9548341"/>
                  </a:ext>
                </a:extLst>
              </a:tr>
              <a:tr h="591157">
                <a:tc>
                  <a:txBody>
                    <a:bodyPr/>
                    <a:lstStyle/>
                    <a:p>
                      <a:r>
                        <a:rPr lang="it-IT" sz="16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SISTEMA - SID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400" b="1" dirty="0"/>
                        <a:t>1- La segreteria scolastica presenta i candidati </a:t>
                      </a:r>
                      <a:r>
                        <a:rPr lang="it-IT" sz="1400" dirty="0"/>
                        <a:t>alla commissione con l’abbinamento alle classi, i crediti ed il curriculum dello studente.</a:t>
                      </a:r>
                    </a:p>
                    <a:p>
                      <a:pPr algn="l"/>
                      <a:endParaRPr lang="it-IT" sz="1400" dirty="0"/>
                    </a:p>
                    <a:p>
                      <a:pPr algn="l"/>
                      <a:r>
                        <a:rPr lang="it-IT" sz="1400" i="1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sz="1400" dirty="0"/>
                        <a:t>2 - All’insediamento della commissione </a:t>
                      </a:r>
                      <a:r>
                        <a:rPr lang="it-IT" sz="1400" b="1" dirty="0"/>
                        <a:t>la segreteria abilita i commissari all’accesso di Commissione Web su richiesta del Presidente</a:t>
                      </a:r>
                      <a:r>
                        <a:rPr lang="it-IT" sz="1400" dirty="0"/>
                        <a:t>; la segreteria supporta la commissione nello svolgimento dell’esame  anche per integrazioni/rettifiche dei dati.</a:t>
                      </a:r>
                    </a:p>
                    <a:p>
                      <a:pPr algn="l"/>
                      <a:endParaRPr lang="it-IT" sz="1400" dirty="0"/>
                    </a:p>
                    <a:p>
                      <a:pPr algn="l"/>
                      <a:r>
                        <a:rPr lang="it-IT" sz="1400" b="1" i="1" dirty="0"/>
                        <a:t>Dal 19 giugno 20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 </a:t>
                      </a:r>
                      <a:r>
                        <a:rPr lang="it-IT" sz="14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– Le segreterie hanno a disposizione gli esiti </a:t>
                      </a:r>
                      <a:r>
                        <a:rPr lang="it-IT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gli esami per completare gli atti finali del procedimento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 – Le segreterie completano gli atti finali </a:t>
                      </a:r>
                      <a:r>
                        <a:rPr lang="it-IT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gistrando il numero del diploma e consolidando il supplemento EUROPASS e Curriculum dello studente.</a:t>
                      </a:r>
                    </a:p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05121404"/>
                  </a:ext>
                </a:extLst>
              </a:tr>
              <a:tr h="799747">
                <a:tc>
                  <a:txBody>
                    <a:bodyPr/>
                    <a:lstStyle/>
                    <a:p>
                      <a:pPr marL="0" algn="l" defTabSz="844083" rtl="0" eaLnBrk="1" latinLnBrk="0" hangingPunct="1"/>
                      <a:r>
                        <a:rPr lang="it-IT" sz="1600" b="1" kern="120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COMMISSIONE WE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it-IT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- </a:t>
                      </a:r>
                      <a:r>
                        <a:rPr lang="it-IT" sz="14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 commissione utilizza l’applicativo per tutte le attività di gestione degli esami</a:t>
                      </a:r>
                      <a:r>
                        <a:rPr lang="it-IT" sz="14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- </a:t>
                      </a:r>
                      <a:r>
                        <a:rPr lang="it-IT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 commissione effettua la chiusura delle attività</a:t>
                      </a:r>
                      <a:r>
                        <a:rPr lang="it-IT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e i dati sono resi disponibili alle segreterie sul portale </a:t>
                      </a:r>
                      <a:r>
                        <a:rPr lang="it-IT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idi</a:t>
                      </a:r>
                      <a:endParaRPr lang="it-IT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4969828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EFB52317-2410-4072-B8BE-350509C6D26C}"/>
              </a:ext>
            </a:extLst>
          </p:cNvPr>
          <p:cNvSpPr txBox="1"/>
          <p:nvPr/>
        </p:nvSpPr>
        <p:spPr>
          <a:xfrm>
            <a:off x="5638800" y="2975113"/>
            <a:ext cx="914400" cy="9144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900" err="1">
              <a:solidFill>
                <a:schemeClr val="tx2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0AB48FE-08A2-45EB-9BE9-637ED856FFE1}"/>
              </a:ext>
            </a:extLst>
          </p:cNvPr>
          <p:cNvSpPr txBox="1"/>
          <p:nvPr/>
        </p:nvSpPr>
        <p:spPr>
          <a:xfrm>
            <a:off x="698395" y="947002"/>
            <a:ext cx="9880809" cy="46382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2381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93181AD-BB2A-40F5-B001-64118B23D14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52357" y="1350497"/>
            <a:ext cx="8932985" cy="4360985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506DBFAC-8A72-48EA-A6B2-D8999B64F858}"/>
              </a:ext>
            </a:extLst>
          </p:cNvPr>
          <p:cNvSpPr txBox="1"/>
          <p:nvPr/>
        </p:nvSpPr>
        <p:spPr>
          <a:xfrm>
            <a:off x="587326" y="441346"/>
            <a:ext cx="835972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Integrazione tra il </a:t>
            </a:r>
            <a:r>
              <a:rPr lang="it-IT" sz="2800" b="1" dirty="0">
                <a:solidFill>
                  <a:schemeClr val="tx2"/>
                </a:solidFill>
              </a:rPr>
              <a:t>portale</a:t>
            </a:r>
            <a:r>
              <a:rPr lang="it-IT" sz="2400" b="1" dirty="0">
                <a:solidFill>
                  <a:schemeClr val="tx2"/>
                </a:solidFill>
              </a:rPr>
              <a:t> SIDI e Commissione Web</a:t>
            </a:r>
          </a:p>
        </p:txBody>
      </p:sp>
    </p:spTree>
    <p:extLst>
      <p:ext uri="{BB962C8B-B14F-4D97-AF65-F5344CB8AC3E}">
        <p14:creationId xmlns:p14="http://schemas.microsoft.com/office/powerpoint/2010/main" val="2732494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1. Accesso a Commissione web</a:t>
            </a:r>
          </a:p>
        </p:txBody>
      </p:sp>
      <p:pic>
        <p:nvPicPr>
          <p:cNvPr id="41" name="Picture 4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296" y="1443663"/>
            <a:ext cx="2843530" cy="8750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7" name="Rectangle 46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4645322" y="1433030"/>
            <a:ext cx="3108790" cy="9547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1.1 Accesso</a:t>
            </a:r>
          </a:p>
          <a:p>
            <a:pPr lvl="0" algn="just">
              <a:spcAft>
                <a:spcPts val="600"/>
              </a:spcAft>
            </a:pPr>
            <a:r>
              <a:rPr lang="it-IT" sz="1200" dirty="0">
                <a:solidFill>
                  <a:prstClr val="black"/>
                </a:solidFill>
              </a:rPr>
              <a:t>Accedere all’applicazione Commissione web tramite l’</a:t>
            </a:r>
            <a:r>
              <a:rPr lang="it-IT" sz="1200" b="1" dirty="0">
                <a:solidFill>
                  <a:prstClr val="black"/>
                </a:solidFill>
              </a:rPr>
              <a:t>apposito banner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170365" y="3601783"/>
            <a:ext cx="3646216" cy="13485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/>
            <a:r>
              <a:rPr lang="it-IT" sz="1200" b="1" dirty="0">
                <a:solidFill>
                  <a:prstClr val="black"/>
                </a:solidFill>
              </a:rPr>
              <a:t>1.2 Login </a:t>
            </a:r>
          </a:p>
          <a:p>
            <a:pPr algn="just"/>
            <a:r>
              <a:rPr lang="it-IT" sz="1200" dirty="0">
                <a:solidFill>
                  <a:prstClr val="black"/>
                </a:solidFill>
              </a:rPr>
              <a:t>Inserire le proprie </a:t>
            </a:r>
            <a:r>
              <a:rPr lang="it-IT" sz="1200" b="1" dirty="0">
                <a:solidFill>
                  <a:prstClr val="black"/>
                </a:solidFill>
              </a:rPr>
              <a:t>credenziali del portale MI </a:t>
            </a:r>
            <a:r>
              <a:rPr lang="it-IT" sz="1200" dirty="0">
                <a:solidFill>
                  <a:prstClr val="black"/>
                </a:solidFill>
              </a:rPr>
              <a:t>(Username e Password) nella pagina di login o </a:t>
            </a:r>
            <a:r>
              <a:rPr lang="it-IT" sz="1200" b="1" dirty="0">
                <a:solidFill>
                  <a:prstClr val="black"/>
                </a:solidFill>
              </a:rPr>
              <a:t>effettuare l’accesso tramite Spid.</a:t>
            </a:r>
          </a:p>
          <a:p>
            <a:pPr algn="just"/>
            <a:endParaRPr lang="it-IT" sz="1200" b="1" dirty="0">
              <a:solidFill>
                <a:prstClr val="black"/>
              </a:solidFill>
            </a:endParaRPr>
          </a:p>
          <a:p>
            <a:pPr algn="just"/>
            <a:r>
              <a:rPr lang="it-IT" sz="1200" dirty="0">
                <a:solidFill>
                  <a:prstClr val="black"/>
                </a:solidFill>
              </a:rPr>
              <a:t>L’accesso può essere effettuato solo </a:t>
            </a:r>
            <a:r>
              <a:rPr lang="it-IT" sz="1200" b="1" dirty="0">
                <a:solidFill>
                  <a:prstClr val="black"/>
                </a:solidFill>
              </a:rPr>
              <a:t>se la segreteria ha abilitato la commissione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11295" y="1694424"/>
            <a:ext cx="432000" cy="432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512122" y="4162919"/>
            <a:ext cx="432000" cy="432000"/>
          </a:xfrm>
          <a:prstGeom prst="rect">
            <a:avLst/>
          </a:prstGeom>
        </p:spPr>
      </p:pic>
      <p:pic>
        <p:nvPicPr>
          <p:cNvPr id="2" name="Immagine 1">
            <a:extLst>
              <a:ext uri="{FF2B5EF4-FFF2-40B4-BE49-F238E27FC236}">
                <a16:creationId xmlns:a16="http://schemas.microsoft.com/office/drawing/2014/main" id="{0B85DCF3-3084-D427-3416-282B7DD190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08973" y="2504549"/>
            <a:ext cx="6012450" cy="374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1416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 dirty="0">
                <a:solidFill>
                  <a:schemeClr val="tx2"/>
                </a:solidFill>
              </a:rPr>
              <a:t>2. Menù generale (1/2)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625490" y="1443698"/>
            <a:ext cx="3428350" cy="29454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050" b="1">
                <a:solidFill>
                  <a:schemeClr val="tx1"/>
                </a:solidFill>
              </a:rPr>
              <a:t>Insediamento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Definizione Classi d'Esame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Registrazione Assenze Commissari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Attribuzione Ruoli Commissari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Stampa Dichiarazione Commissario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Elenco Candidati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isualizza/Stampa Scheda Presentazione Candidato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Turni di Vigilanza Prove Scritte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Priorita' Gruppi Candidati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Diario dei Colloqui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Stampa Albo Credito Candidati Esterni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Gestione Inclusione con Riserva Candidati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Scelta Operativa Compilazione Verbali</a:t>
            </a:r>
          </a:p>
          <a:p>
            <a:pPr lvl="0"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erbali</a:t>
            </a:r>
          </a:p>
          <a:p>
            <a:pPr indent="-171450" fontAlgn="base">
              <a:buFont typeface="Arial" panose="020B0604020202020204" pitchFamily="34" charset="0"/>
              <a:buChar char="•"/>
            </a:pPr>
            <a:endParaRPr lang="it-IT" sz="100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sz="10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4419030" y="1443698"/>
            <a:ext cx="3068890" cy="11810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 Prova Scritta</a:t>
            </a:r>
            <a:endParaRPr lang="it-IT" sz="1000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Registrazione Assenze Candidati 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Rilevazione Tipologia Prova 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Gestione Esclusione Candidati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Foglio Firme Presenza 	</a:t>
            </a:r>
          </a:p>
          <a:p>
            <a:pPr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erbali	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7C4A61-944B-408A-8D3E-5F926D2A6D65}"/>
              </a:ext>
            </a:extLst>
          </p:cNvPr>
          <p:cNvSpPr/>
          <p:nvPr/>
        </p:nvSpPr>
        <p:spPr>
          <a:xfrm>
            <a:off x="4419030" y="3208034"/>
            <a:ext cx="3028250" cy="11810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I Prova Scritta</a:t>
            </a:r>
            <a:r>
              <a:rPr lang="it-IT" sz="10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endParaRPr lang="it-IT" sz="1000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Registrazione Assenze Candidati 	</a:t>
            </a:r>
          </a:p>
          <a:p>
            <a:pPr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Gestione Esclusione Candidati</a:t>
            </a:r>
          </a:p>
          <a:p>
            <a:pPr marL="171450"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Foglio Firme Presenza </a:t>
            </a:r>
          </a:p>
          <a:p>
            <a:pPr marL="171450" lvl="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erbali	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DAD40D-4FBC-4D15-B5D8-FE45D9DB0439}"/>
              </a:ext>
            </a:extLst>
          </p:cNvPr>
          <p:cNvSpPr/>
          <p:nvPr/>
        </p:nvSpPr>
        <p:spPr>
          <a:xfrm>
            <a:off x="7705140" y="1443698"/>
            <a:ext cx="3428350" cy="14610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>
                <a:solidFill>
                  <a:srgbClr val="000000"/>
                </a:solidFill>
                <a:latin typeface="Arial" panose="020B0604020202020204" pitchFamily="34" charset="0"/>
              </a:rPr>
              <a:t>Prova ESABAC 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Dichiarazione Svolgimento Prova ESABAC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alutazioni ESABAC 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alutazioni ESABAC TECHNO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Stampa Valutazioni Prova ESABAC 	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Stampa Valutazioni Prova ESABAC TECHNO </a:t>
            </a:r>
          </a:p>
          <a:p>
            <a:pPr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erbali</a:t>
            </a:r>
          </a:p>
          <a:p>
            <a:pPr fontAlgn="base">
              <a:lnSpc>
                <a:spcPct val="115000"/>
              </a:lnSpc>
            </a:pPr>
            <a:endParaRPr lang="it-IT" sz="100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7B5FB5E-6BAA-4582-911C-55FA381F3812}"/>
              </a:ext>
            </a:extLst>
          </p:cNvPr>
          <p:cNvSpPr/>
          <p:nvPr/>
        </p:nvSpPr>
        <p:spPr>
          <a:xfrm>
            <a:off x="7705140" y="3208034"/>
            <a:ext cx="3515042" cy="11810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va – Licei Internazionali</a:t>
            </a:r>
            <a:r>
              <a:rPr lang="it-IT" sz="1000" b="0" i="0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endParaRPr lang="it-IT" sz="1000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17145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</a:rPr>
              <a:t>Dichiarazione Svolgimento Prova Licei internazionali </a:t>
            </a:r>
          </a:p>
          <a:p>
            <a:pPr marL="17145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</a:rPr>
              <a:t>Valutazioni</a:t>
            </a:r>
          </a:p>
          <a:p>
            <a:pPr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</a:rPr>
              <a:t>Stampa Valutazioni Prova Licei internazionali</a:t>
            </a:r>
          </a:p>
          <a:p>
            <a:pPr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rgbClr val="000000"/>
                </a:solidFill>
                <a:latin typeface="Arial" panose="020B0604020202020204" pitchFamily="34" charset="0"/>
              </a:rPr>
              <a:t>Verbal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BE5A90-D42F-4EAC-8350-4D5203D7D854}"/>
              </a:ext>
            </a:extLst>
          </p:cNvPr>
          <p:cNvSpPr/>
          <p:nvPr/>
        </p:nvSpPr>
        <p:spPr>
          <a:xfrm>
            <a:off x="609918" y="4643384"/>
            <a:ext cx="3428350" cy="9039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Valutazioni Prove Scritte</a:t>
            </a:r>
            <a:r>
              <a:rPr lang="it-IT" sz="10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 </a:t>
            </a:r>
            <a:endParaRPr lang="it-IT" sz="1000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45720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Inserimento Punteggi 	</a:t>
            </a:r>
          </a:p>
          <a:p>
            <a:pPr marL="457200" indent="-171450" fontAlgn="base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Stampa Albo Prove Scritte 	</a:t>
            </a:r>
          </a:p>
          <a:p>
            <a:pPr marL="457200" indent="-171450" fontAlgn="base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>
                <a:solidFill>
                  <a:srgbClr val="000000"/>
                </a:solidFill>
                <a:latin typeface="Arial" panose="020B0604020202020204" pitchFamily="34" charset="0"/>
              </a:rPr>
              <a:t>Verbali	</a:t>
            </a:r>
          </a:p>
        </p:txBody>
      </p:sp>
    </p:spTree>
    <p:extLst>
      <p:ext uri="{BB962C8B-B14F-4D97-AF65-F5344CB8AC3E}">
        <p14:creationId xmlns:p14="http://schemas.microsoft.com/office/powerpoint/2010/main" val="23370796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CasellaDiTesto 34"/>
          <p:cNvSpPr txBox="1"/>
          <p:nvPr/>
        </p:nvSpPr>
        <p:spPr>
          <a:xfrm>
            <a:off x="609918" y="262159"/>
            <a:ext cx="10980420" cy="684843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it-IT" sz="2400" b="1">
                <a:solidFill>
                  <a:schemeClr val="tx2"/>
                </a:solidFill>
              </a:rPr>
              <a:t>2. Menù generale  (2/2)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688848" y="1476852"/>
            <a:ext cx="3290582" cy="8656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050" b="1">
                <a:solidFill>
                  <a:schemeClr val="tx1"/>
                </a:solidFill>
              </a:rPr>
              <a:t>Preparazione colloqui</a:t>
            </a: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erbali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4450709" y="1476852"/>
            <a:ext cx="3290582" cy="1317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050" b="1">
                <a:solidFill>
                  <a:schemeClr val="tx1"/>
                </a:solidFill>
              </a:rPr>
              <a:t>Valutazione Colloqui</a:t>
            </a:r>
          </a:p>
          <a:p>
            <a:pPr marL="171450" lvl="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Registrazione Assenze Candidati 	</a:t>
            </a:r>
          </a:p>
          <a:p>
            <a:pPr marL="171450" lvl="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alutazioni 	</a:t>
            </a:r>
          </a:p>
          <a:p>
            <a:pPr marL="171450" lvl="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Foglio Firme Presenza</a:t>
            </a:r>
          </a:p>
          <a:p>
            <a:pPr marL="171450" lvl="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erbali</a:t>
            </a:r>
          </a:p>
          <a:p>
            <a:pPr marL="171450" lvl="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Griglia di valutazione </a:t>
            </a:r>
            <a:br>
              <a:rPr lang="it-IT" sz="1000">
                <a:solidFill>
                  <a:schemeClr val="tx1"/>
                </a:solidFill>
              </a:rPr>
            </a:br>
            <a:endParaRPr lang="it-IT" sz="1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8212570" y="1476852"/>
            <a:ext cx="3290582" cy="116174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ve Suppletive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Registrazione Assenze Candidati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Gestione Esclusione Candidati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Foglio Firme Presenza Prove Suppletive</a:t>
            </a:r>
          </a:p>
          <a:p>
            <a:pPr marL="171450" indent="-171450" eaLnBrk="0" hangingPunct="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erbali	</a:t>
            </a:r>
          </a:p>
          <a:p>
            <a:pPr algn="l" rtl="0" fontAlgn="base"/>
            <a:endParaRPr lang="it-IT" sz="1000" b="0" i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617181" y="3000967"/>
            <a:ext cx="3290582" cy="13678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050" b="1">
                <a:solidFill>
                  <a:schemeClr val="tx1"/>
                </a:solidFill>
              </a:rPr>
              <a:t>Adempimenti finali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alutazione Finale Candidato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Stampa Albo Esito Esami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erbali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Registro dei Risultati degli Esami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Relazione del Presidente di Commission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4450709" y="3000967"/>
            <a:ext cx="3290582" cy="85296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050" b="1">
                <a:solidFill>
                  <a:schemeClr val="tx1"/>
                </a:solidFill>
              </a:rPr>
              <a:t>Gestione Attività</a:t>
            </a: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Sblocco Candidati 	</a:t>
            </a: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Stampa Situazioni Anomale 	</a:t>
            </a:r>
          </a:p>
          <a:p>
            <a:pPr marL="171450" indent="-171450" eaLnBrk="0" hangingPunct="0"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Chiusura Attivita'	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5965169-7A40-4117-9419-075C048CA34C}"/>
              </a:ext>
            </a:extLst>
          </p:cNvPr>
          <p:cNvSpPr/>
          <p:nvPr/>
        </p:nvSpPr>
        <p:spPr>
          <a:xfrm>
            <a:off x="4450708" y="4060903"/>
            <a:ext cx="3321211" cy="19405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Aft>
                <a:spcPts val="600"/>
              </a:spcAft>
            </a:pPr>
            <a:r>
              <a:rPr lang="it-IT" sz="1050" b="1" dirty="0">
                <a:solidFill>
                  <a:schemeClr val="tx1"/>
                </a:solidFill>
              </a:rPr>
              <a:t>Stampe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Dichiarazione Commissari 	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Elenco Candidati Esclusi 	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Scheda Candidato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Credito Candidati Esterni 	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Elenco Punteggio Totale Prove Scritte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Elenco Esiti Esame 	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Presenze/Assenze Candidati per Prova 	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Situazioni Anomale</a:t>
            </a:r>
          </a:p>
          <a:p>
            <a:pPr marL="171450" lvl="0" indent="-171450" eaLnBrk="0" hangingPunct="0">
              <a:buFont typeface="Arial" panose="020B0604020202020204" pitchFamily="34" charset="0"/>
              <a:buChar char="•"/>
            </a:pPr>
            <a:r>
              <a:rPr lang="it-IT" sz="1000" dirty="0">
                <a:solidFill>
                  <a:schemeClr val="tx1"/>
                </a:solidFill>
              </a:rPr>
              <a:t>Registro dei risultati degli esami</a:t>
            </a:r>
          </a:p>
          <a:p>
            <a:pPr marL="171450" lvl="0" indent="-171450" eaLnBrk="0" hangingPunct="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it-IT" sz="1000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AF869F0-BFBB-40A7-98A8-1B11C4BFD496}"/>
              </a:ext>
            </a:extLst>
          </p:cNvPr>
          <p:cNvSpPr/>
          <p:nvPr/>
        </p:nvSpPr>
        <p:spPr>
          <a:xfrm>
            <a:off x="8248368" y="3020826"/>
            <a:ext cx="3254784" cy="20863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rtl="0" fontAlgn="base"/>
            <a:r>
              <a:rPr lang="it-IT" sz="1000" b="1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Prove Staordinarie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Diario dei Colloqui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Registrazione Assenze Candidati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Gestione Esclusione Candidati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Stampa Presenza/Assenza Prove Straordinarie 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Foglio Firme Presenza Prove Straordinarie 	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Registro dei Risultati degli Esami</a:t>
            </a:r>
          </a:p>
          <a:p>
            <a:pPr marL="171450" indent="-171450" eaLnBrk="0" hangingPunct="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Stampa Albo Esito Esami 	</a:t>
            </a:r>
          </a:p>
          <a:p>
            <a:pPr marL="171450" indent="-171450" eaLnBrk="0" hangingPunct="0">
              <a:lnSpc>
                <a:spcPct val="115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it-IT" sz="1000">
                <a:solidFill>
                  <a:schemeClr val="tx1"/>
                </a:solidFill>
              </a:rPr>
              <a:t>Verbali</a:t>
            </a:r>
          </a:p>
          <a:p>
            <a:pPr algn="l" rtl="0" fontAlgn="base"/>
            <a:endParaRPr lang="it-IT" sz="1000" b="0" i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2733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Report"/>
  <p:tag name="KEYWORD" val="REPORT"/>
  <p:tag name="TEMPLATEVERSION" val="07/03/2016 15:44:50"/>
  <p:tag name="THINKCELLPRESENTATIONDONOTDELETE" val="&lt;?xml version=&quot;1.0&quot; encoding=&quot;UTF-16&quot; standalone=&quot;yes&quot;?&gt;&lt;root reqver=&quot;23045&quot;&gt;&lt;version val=&quot;2416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9.07507576020542390000E+000&quot;&gt;&lt;m_msothmcolidx val=&quot;0&quot;/&gt;&lt;m_rgb r=&quot;40&quot; g=&quot;53&quot; b=&quot;99&quot;/&gt;&lt;m_nBrightness val=&quot;0&quot;/&gt;&lt;/elem&gt;&lt;elem m_fUsage=&quot;9.04957458684415790000E-001&quot;&gt;&lt;m_msothmcolidx val=&quot;0&quot;/&gt;&lt;m_rgb r=&quot;09&quot; g=&quot;0C&quot; b=&quot;9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m7xnQebiWqd45ulyUsi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U3t9W.vvNHu7SNIdKE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Jn9otHQVdo9dyuZK5k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1Oa3cuLcCOdGnkvwcS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mdAyRbefOV4whSJ8Vq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uu6USTPSpoGmR2Srwb1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BfWqWgTUN4zi1WRgLr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0pHOPbaxn5.1y5C3gQb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zmAJd1b6qhwNjMb1qzc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QRz.trK6ieL4DZnXL69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HAiqBR4QMDEVh1Uhri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SpcWEHLYYQMIZMpxTu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juYV_wzeJwBB7bXqP9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_AMHXlKnnS6aAnRj1GfQ"/>
</p:tagLst>
</file>

<file path=ppt/theme/theme1.xml><?xml version="1.0" encoding="utf-8"?>
<a:theme xmlns:a="http://schemas.openxmlformats.org/drawingml/2006/main" name="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5_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7.xml><?xml version="1.0" encoding="utf-8"?>
<a:theme xmlns:a="http://schemas.openxmlformats.org/drawingml/2006/main" name="6_KPMG_Report_4x3_050216_2016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Report Standard Template</Template>
  <TotalTime>1719</TotalTime>
  <Words>2717</Words>
  <Application>Microsoft Office PowerPoint</Application>
  <PresentationFormat>Widescreen</PresentationFormat>
  <Paragraphs>294</Paragraphs>
  <Slides>30</Slides>
  <Notes>17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7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0</vt:i4>
      </vt:variant>
    </vt:vector>
  </HeadingPairs>
  <TitlesOfParts>
    <vt:vector size="45" baseType="lpstr">
      <vt:lpstr>Arial</vt:lpstr>
      <vt:lpstr>Calibri</vt:lpstr>
      <vt:lpstr>KPMG Extralight</vt:lpstr>
      <vt:lpstr>Monotype Corsiva</vt:lpstr>
      <vt:lpstr>Segoe UI</vt:lpstr>
      <vt:lpstr>Symbol</vt:lpstr>
      <vt:lpstr>Wingdings</vt:lpstr>
      <vt:lpstr>KPMG_Report_4x3_050216_2016</vt:lpstr>
      <vt:lpstr>1_KPMG_Report_4x3_050216_2016</vt:lpstr>
      <vt:lpstr>2_KPMG_Report_4x3_050216_2016</vt:lpstr>
      <vt:lpstr>3_KPMG_Report_4x3_050216_2016</vt:lpstr>
      <vt:lpstr>4_KPMG_Report_4x3_050216_2016</vt:lpstr>
      <vt:lpstr>5_KPMG_Report_4x3_050216_2016</vt:lpstr>
      <vt:lpstr>6_KPMG_Report_4x3_050216_2016</vt:lpstr>
      <vt:lpstr>Diapositiva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port  template</dc:title>
  <dc:creator>cristina schiavetto</dc:creator>
  <cp:lastModifiedBy>Marzullo Annarita Lina</cp:lastModifiedBy>
  <cp:revision>39</cp:revision>
  <dcterms:created xsi:type="dcterms:W3CDTF">2017-02-21T16:08:45Z</dcterms:created>
  <dcterms:modified xsi:type="dcterms:W3CDTF">2023-05-30T10:32:42Z</dcterms:modified>
  <cp:category>KPMG Confidential</cp:category>
</cp:coreProperties>
</file>